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0" r:id="rId1"/>
    <p:sldMasterId id="2147483857" r:id="rId2"/>
  </p:sldMasterIdLst>
  <p:notesMasterIdLst>
    <p:notesMasterId r:id="rId4"/>
  </p:notesMasterIdLst>
  <p:handoutMasterIdLst>
    <p:handoutMasterId r:id="rId5"/>
  </p:handoutMasterIdLst>
  <p:sldIdLst>
    <p:sldId id="446" r:id="rId3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5FD"/>
    <a:srgbClr val="E9F5FD"/>
    <a:srgbClr val="A2BEE6"/>
    <a:srgbClr val="5788D1"/>
    <a:srgbClr val="0070C0"/>
    <a:srgbClr val="A6A6A6"/>
    <a:srgbClr val="DFEFFD"/>
    <a:srgbClr val="2C5AA0"/>
    <a:srgbClr val="7D7D7D"/>
    <a:srgbClr val="F2F2F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5695" autoAdjust="0"/>
    <p:restoredTop sz="94795"/>
  </p:normalViewPr>
  <p:slideViewPr>
    <p:cSldViewPr snapToGrid="0" snapToObjects="1" showGuides="1">
      <p:cViewPr varScale="1">
        <p:scale>
          <a:sx n="116" d="100"/>
          <a:sy n="116" d="100"/>
        </p:scale>
        <p:origin x="924" y="10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7/5/2021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05/07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5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3429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609600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55496"/>
          </a:xfrm>
        </p:spPr>
        <p:txBody>
          <a:bodyPr anchor="b" anchorCtr="0">
            <a:normAutofit/>
          </a:bodyPr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xmlns="" id="{6500E57C-CC48-F54D-B3F3-3A114B2488C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099721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1999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9A901F27-1E18-0046-A577-0550B326C42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6" name="Freeform: Shape 8">
              <a:extLst>
                <a:ext uri="{FF2B5EF4-FFF2-40B4-BE49-F238E27FC236}">
                  <a16:creationId xmlns:a16="http://schemas.microsoft.com/office/drawing/2014/main" xmlns="" id="{2B6306E4-EA3A-6A40-90F3-BFF139CD1856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xmlns="" id="{D67CBCF8-572D-4D45-93D3-B122FE4A2D6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6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4607078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 3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9450000" y="0"/>
            <a:ext cx="2742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xmlns="" id="{05809F74-389C-BF4E-9840-CD3E0121C200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12" name="Freeform: Shape 8">
              <a:extLst>
                <a:ext uri="{FF2B5EF4-FFF2-40B4-BE49-F238E27FC236}">
                  <a16:creationId xmlns:a16="http://schemas.microsoft.com/office/drawing/2014/main" xmlns="" id="{02FC2F29-20BB-FC46-8933-6BF25A395800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1022986 h 6858000"/>
                <a:gd name="connsiteX3" fmla="*/ 12192000 w 12192000"/>
                <a:gd name="connsiteY3" fmla="*/ 1022986 h 6858000"/>
                <a:gd name="connsiteX4" fmla="*/ 12192000 w 12192000"/>
                <a:gd name="connsiteY4" fmla="*/ 1328986 h 6858000"/>
                <a:gd name="connsiteX5" fmla="*/ 9450000 w 12192000"/>
                <a:gd name="connsiteY5" fmla="*/ 1328986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1022986"/>
                  </a:lnTo>
                  <a:lnTo>
                    <a:pt x="12192000" y="1022986"/>
                  </a:lnTo>
                  <a:lnTo>
                    <a:pt x="12192000" y="1328986"/>
                  </a:lnTo>
                  <a:lnTo>
                    <a:pt x="9450000" y="1328986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xmlns="" id="{A1A41927-8102-0140-8A6E-BE11E9B2A36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8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5"/>
            <a:ext cx="7418388" cy="2771775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9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39471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02531736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86E1CB07-AAEA-314E-A423-4B23728F274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-1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5065365-ACD4-4445-B744-F720FB8FF28C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04A0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89B02B9A-C678-D74D-B142-58CA492CDC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8695742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19130D55-E01B-814B-B368-1A5B9D9224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1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27BE733A-F034-2C46-AB70-A0813595ECD7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E0301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D80AA576-2E0A-D146-9C52-8C67B6E45D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3610"/>
            <a:ext cx="5258640" cy="2425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8417831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Ro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2504B055-84E9-A34C-9FA5-3A4898E3B2D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8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41675EB2-67BA-8341-AFDE-B097C16A2531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DB536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xmlns="" id="{420A64D3-5A58-A74D-827A-3B01DDFF5E0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175144055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 Shape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4">
            <a:extLst>
              <a:ext uri="{FF2B5EF4-FFF2-40B4-BE49-F238E27FC236}">
                <a16:creationId xmlns:a16="http://schemas.microsoft.com/office/drawing/2014/main" xmlns="" id="{B147A814-53FE-0143-93DA-6302106438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 bwMode="hidden">
          <a:xfrm>
            <a:off x="5103159" y="0"/>
            <a:ext cx="7088841" cy="6858000"/>
          </a:xfrm>
          <a:solidFill>
            <a:srgbClr val="DEDEDE"/>
          </a:solidFill>
        </p:spPr>
        <p:txBody>
          <a:bodyPr rIns="1371600" anchor="ctr" anchorCtr="0"/>
          <a:lstStyle>
            <a:lvl1pPr algn="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19670607-F478-BE4E-8608-89949C7D5279}"/>
              </a:ext>
            </a:extLst>
          </p:cNvPr>
          <p:cNvGrpSpPr/>
          <p:nvPr userDrawn="1"/>
        </p:nvGrpSpPr>
        <p:grpSpPr>
          <a:xfrm>
            <a:off x="0" y="0"/>
            <a:ext cx="8914102" cy="6858001"/>
            <a:chOff x="0" y="0"/>
            <a:chExt cx="8914102" cy="6858001"/>
          </a:xfrm>
        </p:grpSpPr>
        <p:sp>
          <p:nvSpPr>
            <p:cNvPr id="7" name="Freeform 6">
              <a:extLst>
                <a:ext uri="{FF2B5EF4-FFF2-40B4-BE49-F238E27FC236}">
                  <a16:creationId xmlns:a16="http://schemas.microsoft.com/office/drawing/2014/main" xmlns="" id="{D02960CE-3ED9-3D49-BEB3-63CD70439705}"/>
                </a:ext>
              </a:extLst>
            </p:cNvPr>
            <p:cNvSpPr/>
            <p:nvPr userDrawn="1"/>
          </p:nvSpPr>
          <p:spPr bwMode="white">
            <a:xfrm>
              <a:off x="0" y="0"/>
              <a:ext cx="8914102" cy="6858001"/>
            </a:xfrm>
            <a:custGeom>
              <a:avLst/>
              <a:gdLst>
                <a:gd name="connsiteX0" fmla="*/ 1260764 w 8914102"/>
                <a:gd name="connsiteY0" fmla="*/ 0 h 6858001"/>
                <a:gd name="connsiteX1" fmla="*/ 5169189 w 8914102"/>
                <a:gd name="connsiteY1" fmla="*/ 0 h 6858001"/>
                <a:gd name="connsiteX2" fmla="*/ 5169189 w 8914102"/>
                <a:gd name="connsiteY2" fmla="*/ 765175 h 6858001"/>
                <a:gd name="connsiteX3" fmla="*/ 5937540 w 8914102"/>
                <a:gd name="connsiteY3" fmla="*/ 765175 h 6858001"/>
                <a:gd name="connsiteX4" fmla="*/ 5937540 w 8914102"/>
                <a:gd name="connsiteY4" fmla="*/ 1957388 h 6858001"/>
                <a:gd name="connsiteX5" fmla="*/ 7920327 w 8914102"/>
                <a:gd name="connsiteY5" fmla="*/ 1957388 h 6858001"/>
                <a:gd name="connsiteX6" fmla="*/ 7920327 w 8914102"/>
                <a:gd name="connsiteY6" fmla="*/ 4899025 h 6858001"/>
                <a:gd name="connsiteX7" fmla="*/ 8914102 w 8914102"/>
                <a:gd name="connsiteY7" fmla="*/ 4899025 h 6858001"/>
                <a:gd name="connsiteX8" fmla="*/ 8914102 w 8914102"/>
                <a:gd name="connsiteY8" fmla="*/ 6858000 h 6858001"/>
                <a:gd name="connsiteX9" fmla="*/ 7920327 w 8914102"/>
                <a:gd name="connsiteY9" fmla="*/ 6858000 h 6858001"/>
                <a:gd name="connsiteX10" fmla="*/ 5937540 w 8914102"/>
                <a:gd name="connsiteY10" fmla="*/ 6858000 h 6858001"/>
                <a:gd name="connsiteX11" fmla="*/ 5169189 w 8914102"/>
                <a:gd name="connsiteY11" fmla="*/ 6858000 h 6858001"/>
                <a:gd name="connsiteX12" fmla="*/ 3705515 w 8914102"/>
                <a:gd name="connsiteY12" fmla="*/ 6858000 h 6858001"/>
                <a:gd name="connsiteX13" fmla="*/ 1260764 w 8914102"/>
                <a:gd name="connsiteY13" fmla="*/ 6858000 h 6858001"/>
                <a:gd name="connsiteX14" fmla="*/ 1260764 w 8914102"/>
                <a:gd name="connsiteY14" fmla="*/ 6858001 h 6858001"/>
                <a:gd name="connsiteX15" fmla="*/ 0 w 8914102"/>
                <a:gd name="connsiteY15" fmla="*/ 6858001 h 6858001"/>
                <a:gd name="connsiteX16" fmla="*/ 0 w 8914102"/>
                <a:gd name="connsiteY16" fmla="*/ 1 h 6858001"/>
                <a:gd name="connsiteX17" fmla="*/ 1260764 w 8914102"/>
                <a:gd name="connsiteY17" fmla="*/ 1 h 68580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914102" h="6858001">
                  <a:moveTo>
                    <a:pt x="1260764" y="0"/>
                  </a:moveTo>
                  <a:lnTo>
                    <a:pt x="5169189" y="0"/>
                  </a:lnTo>
                  <a:lnTo>
                    <a:pt x="5169189" y="765175"/>
                  </a:lnTo>
                  <a:lnTo>
                    <a:pt x="5937540" y="765175"/>
                  </a:lnTo>
                  <a:lnTo>
                    <a:pt x="5937540" y="1957388"/>
                  </a:lnTo>
                  <a:lnTo>
                    <a:pt x="7920327" y="1957388"/>
                  </a:lnTo>
                  <a:lnTo>
                    <a:pt x="7920327" y="4899025"/>
                  </a:lnTo>
                  <a:lnTo>
                    <a:pt x="8914102" y="4899025"/>
                  </a:lnTo>
                  <a:lnTo>
                    <a:pt x="8914102" y="6858000"/>
                  </a:lnTo>
                  <a:lnTo>
                    <a:pt x="7920327" y="6858000"/>
                  </a:lnTo>
                  <a:lnTo>
                    <a:pt x="5937540" y="6858000"/>
                  </a:lnTo>
                  <a:lnTo>
                    <a:pt x="5169189" y="6858000"/>
                  </a:lnTo>
                  <a:lnTo>
                    <a:pt x="3705515" y="6858000"/>
                  </a:lnTo>
                  <a:lnTo>
                    <a:pt x="1260764" y="6858000"/>
                  </a:lnTo>
                  <a:lnTo>
                    <a:pt x="1260764" y="6858001"/>
                  </a:lnTo>
                  <a:lnTo>
                    <a:pt x="0" y="6858001"/>
                  </a:lnTo>
                  <a:lnTo>
                    <a:pt x="0" y="1"/>
                  </a:lnTo>
                  <a:lnTo>
                    <a:pt x="1260764" y="1"/>
                  </a:lnTo>
                  <a:close/>
                </a:path>
              </a:pathLst>
            </a:custGeom>
            <a:solidFill>
              <a:srgbClr val="46464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3C790A76-DC9A-CA48-8F96-B38E81026F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3" y="1009185"/>
            <a:ext cx="5258640" cy="241981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49040"/>
            <a:ext cx="525864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4050186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5334000" y="0"/>
            <a:ext cx="6858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750888"/>
            <a:ext cx="4675186" cy="2678112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956185"/>
            <a:ext cx="4675187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7722A556-B0A2-E74A-B3E1-08C0F432C2D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90555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2" y="2103120"/>
            <a:ext cx="11306175" cy="4073842"/>
          </a:xfrm>
        </p:spPr>
        <p:txBody>
          <a:bodyPr/>
          <a:lstStyle>
            <a:lvl1pPr marL="730250" indent="-73025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+mj-lt"/>
              <a:buAutoNum type="arabicPeriod"/>
              <a:tabLst>
                <a:tab pos="10623550" algn="r"/>
              </a:tabLst>
              <a:defRPr sz="2800" b="0">
                <a:solidFill>
                  <a:schemeClr val="tx1"/>
                </a:solidFill>
              </a:defRPr>
            </a:lvl1pPr>
            <a:lvl2pPr marL="730250" indent="0">
              <a:buClr>
                <a:schemeClr val="accent4"/>
              </a:buClr>
              <a:buFont typeface="+mj-lt"/>
              <a:buNone/>
              <a:tabLst>
                <a:tab pos="10623550" algn="r"/>
              </a:tabLst>
              <a:defRPr sz="1600"/>
            </a:lvl2pPr>
            <a:lvl3pPr marL="914400" indent="-182563">
              <a:lnSpc>
                <a:spcPct val="100000"/>
              </a:lnSpc>
              <a:tabLst>
                <a:tab pos="10623550" algn="r"/>
              </a:tabLst>
              <a:defRPr/>
            </a:lvl3pPr>
            <a:lvl4pPr marL="1096963" indent="-182563">
              <a:lnSpc>
                <a:spcPct val="100000"/>
              </a:lnSpc>
              <a:tabLst>
                <a:tab pos="10623550" algn="r"/>
              </a:tabLst>
              <a:defRPr/>
            </a:lvl4pPr>
            <a:lvl5pPr marL="1279525" indent="-182563">
              <a:lnSpc>
                <a:spcPct val="100000"/>
              </a:lnSpc>
              <a:tabLst>
                <a:tab pos="10623550" algn="r"/>
              </a:tabLst>
              <a:defRPr/>
            </a:lvl5pPr>
            <a:lvl6pPr marL="1462088" indent="-182563">
              <a:lnSpc>
                <a:spcPct val="100000"/>
              </a:lnSpc>
              <a:tabLst>
                <a:tab pos="10623550" algn="r"/>
              </a:tabLst>
              <a:defRPr/>
            </a:lvl6pPr>
            <a:lvl7pPr marL="1644650" indent="-182563">
              <a:lnSpc>
                <a:spcPct val="100000"/>
              </a:lnSpc>
              <a:tabLst>
                <a:tab pos="10623550" algn="r"/>
              </a:tabLst>
              <a:defRPr/>
            </a:lvl7pPr>
            <a:lvl8pPr marL="1828800" indent="-182563">
              <a:lnSpc>
                <a:spcPct val="100000"/>
              </a:lnSpc>
              <a:tabLst>
                <a:tab pos="10623550" algn="r"/>
              </a:tabLst>
              <a:defRPr/>
            </a:lvl8pPr>
            <a:lvl9pPr marL="2011363" indent="-182563">
              <a:lnSpc>
                <a:spcPct val="100000"/>
              </a:lnSpc>
              <a:tabLst>
                <a:tab pos="10623550" algn="r"/>
              </a:tabLs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092926E-C7A2-1946-B74B-5EC49D3EAE3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2A29A14A-827E-1247-9162-E763C985ACD0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E5DE93B2-FBAC-41BB-BC76-23EDFB596FC3}"/>
              </a:ext>
            </a:extLst>
          </p:cNvPr>
          <p:cNvSpPr/>
          <p:nvPr userDrawn="1"/>
        </p:nvSpPr>
        <p:spPr>
          <a:xfrm>
            <a:off x="288758" y="6355080"/>
            <a:ext cx="702644" cy="4307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l-GR" sz="1600"/>
          </a:p>
        </p:txBody>
      </p:sp>
    </p:spTree>
    <p:extLst>
      <p:ext uri="{BB962C8B-B14F-4D97-AF65-F5344CB8AC3E}">
        <p14:creationId xmlns:p14="http://schemas.microsoft.com/office/powerpoint/2010/main" val="391090661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7418387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3433AD6-7E25-3440-A0A8-374B46CA701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A1CAC76-AD94-234E-8386-FD25DC54D41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89486007-FECF-0B43-98E4-BE646CA75FA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7B50029D-69E7-435E-8725-AF9DB54F8E5D}"/>
              </a:ext>
            </a:extLst>
          </p:cNvPr>
          <p:cNvSpPr/>
          <p:nvPr userDrawn="1"/>
        </p:nvSpPr>
        <p:spPr>
          <a:xfrm>
            <a:off x="357447" y="6434051"/>
            <a:ext cx="473826" cy="3075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l-GR" sz="16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xmlns="" id="{00A7EAAA-A999-4518-BBBB-F3F7EEE85AB0}"/>
              </a:ext>
            </a:extLst>
          </p:cNvPr>
          <p:cNvSpPr/>
          <p:nvPr userDrawn="1"/>
        </p:nvSpPr>
        <p:spPr>
          <a:xfrm>
            <a:off x="0" y="1515229"/>
            <a:ext cx="12192000" cy="5342771"/>
          </a:xfrm>
          <a:prstGeom prst="rect">
            <a:avLst/>
          </a:prstGeom>
          <a:solidFill>
            <a:srgbClr val="E9F5FD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l-GR" sz="1600" dirty="0"/>
          </a:p>
        </p:txBody>
      </p:sp>
    </p:spTree>
    <p:extLst>
      <p:ext uri="{BB962C8B-B14F-4D97-AF65-F5344CB8AC3E}">
        <p14:creationId xmlns:p14="http://schemas.microsoft.com/office/powerpoint/2010/main" val="396803705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120"/>
            <a:ext cx="11306175" cy="407384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7AE0E6F-13EB-BD40-A19F-F1CFDDB4658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E110EC83-C78E-4405-AEE2-BB7A415E5F5B}"/>
              </a:ext>
            </a:extLst>
          </p:cNvPr>
          <p:cNvSpPr/>
          <p:nvPr userDrawn="1"/>
        </p:nvSpPr>
        <p:spPr>
          <a:xfrm>
            <a:off x="442913" y="6492240"/>
            <a:ext cx="433387" cy="1371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l-GR" sz="1600"/>
          </a:p>
        </p:txBody>
      </p:sp>
    </p:spTree>
    <p:extLst>
      <p:ext uri="{BB962C8B-B14F-4D97-AF65-F5344CB8AC3E}">
        <p14:creationId xmlns:p14="http://schemas.microsoft.com/office/powerpoint/2010/main" val="349683744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EB8C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9C024489-97EC-1D48-A1FA-019C1228618C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85139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79736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A1127051-9445-A34F-940C-D451EEF3980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5E96824-1DC8-8F4C-9F19-4AA8BD36E946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46C406C8-2617-D442-A446-EA4D0CC6D9A3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613843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8"/>
            <a:ext cx="54737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00456CA5-A388-1D41-B4AF-6658D4C957A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1232899-915E-C74D-8F7F-7C2DD55182A1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9E4EFE4-848B-FB4C-92AC-48F9C8C7E47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6163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5317807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D3536595-57B2-5848-8E3C-E2D5B4D0F21A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A3DF40C9-D7F9-A14D-8F2B-F46833A0170E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2913943-67C1-A441-988B-505B7F0D23B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867151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2DE0F926-F4BA-044E-B97A-AA8668B032A8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2EB6748-91CD-EA44-B3CB-A9D864D8B20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D1B9031D-3AD3-5746-B707-65960833213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91115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CD6E0CB0-5FCA-9E41-ACFD-7D08A524DF4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E638E35-65AD-4243-B284-707345D47D7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31698C3-BF03-D940-AA4E-1704020681B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4178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0" name="Title 9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xmlns="" id="{BC0705E1-E330-8C4F-A023-40952CF24C94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22D3CEF-2FE9-6541-A411-8712E77FDE9D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4F60C409-BC93-7948-9808-660EF10182C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009245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FA63A94-C8E2-FB44-885B-EB683E5F6866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55A3E01-BC1E-FC45-9A3B-16FFF0CD47EE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616CD684-D4FE-F645-A29A-2F42832D27B2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222200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3D2E598-676F-DE44-A364-05E35FEB311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4EE7D73-CC34-F34E-8E0D-FE9EFCAB5B6D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3D69DEA3-5E99-424B-BE2E-8D9202AD4FC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265502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1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963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963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6363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636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93088" y="2103120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93088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0AEC188F-17FB-9741-A681-A3C06DA3BEA1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4C7FE2CE-7430-B14C-8AB3-DE28B3871F56}"/>
              </a:ext>
            </a:extLst>
          </p:cNvPr>
          <p:cNvSpPr>
            <a:spLocks noGrp="1"/>
          </p:cNvSpPr>
          <p:nvPr>
            <p:ph type="dt" sz="half" idx="23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B0226472-611E-0C4D-B900-2140DFE78BD1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829139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42913" y="432000"/>
            <a:ext cx="11306175" cy="138727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D397FBE-5CF3-D24C-9080-6E833FFE25D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E2C69D5E-619A-7A4D-B6D5-5294509D7143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28D71E4-CBC9-3648-9D74-CDE027F0E95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43378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05066818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741838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C9242D6C-75F6-2B45-8341-980F99E5DA7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E226BB03-6EF6-F445-88B0-A7B24602567C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F8846DF-B557-F249-A820-B138A17441DC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15B6EC7-613B-094E-83F4-DA4B13BB533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6239517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ull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2103438"/>
            <a:ext cx="11306175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A78C6408-9684-F649-A01B-20A1E9A52ED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06D22B17-E9E9-3842-A116-5C0D59C56C8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709AE37-4C0E-9449-8811-AF627111A71F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0E5A4581-58A2-5947-96BD-212EB8536951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666459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C8CAC806-7708-6C42-A901-982FA119C08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xmlns="" id="{1C758DF0-2055-C446-AF59-8BED8AF86DAB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F75A8AA7-C631-FC48-B78E-A7C28CBFC4D6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039EA78-0E25-1E49-9BAA-8BB4D19EDF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19896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473700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388" y="2103437"/>
            <a:ext cx="5473699" cy="4068761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E7945371-B6F9-F541-89EE-24D897592CA4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32E0820E-E86A-4245-AF6A-000EBF442F6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01872E8-5749-484B-9C68-8AF6F238E4A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00AD96B6-4E2D-5D4D-9281-01075C08C04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823783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Image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5317807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4" y="430514"/>
            <a:ext cx="5317806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F064736F-99D3-5349-B4BB-3F5BE96B588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339845CC-465C-0147-BB19-41367E39D82E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5317808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AF02CD0-5DDD-1F41-AEB4-55BDD643AC82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78E0517-3586-2A46-900E-429A592FD731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34638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4332288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8220076" y="2103439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8D01178-C346-1B4F-8DFA-F5B5E0660B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Subtitle 2">
            <a:extLst>
              <a:ext uri="{FF2B5EF4-FFF2-40B4-BE49-F238E27FC236}">
                <a16:creationId xmlns:a16="http://schemas.microsoft.com/office/drawing/2014/main" xmlns="" id="{B56B3548-5EB8-714F-93B3-BD8CE8C6C99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CF957D98-A9BD-6147-8C17-F6034346BCFA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6B079912-E66E-9D45-8060-9249926E269D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851679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36061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275388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7" name="Content Placeholder 3"/>
          <p:cNvSpPr>
            <a:spLocks noGrp="1"/>
          </p:cNvSpPr>
          <p:nvPr>
            <p:ph sz="half" idx="14" hasCustomPrompt="1"/>
          </p:nvPr>
        </p:nvSpPr>
        <p:spPr>
          <a:xfrm>
            <a:off x="9190163" y="2103438"/>
            <a:ext cx="2556000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0FAD9719-920C-B64C-90D2-E337E9E7C11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xmlns="" id="{42F08066-BCE7-3945-BE4E-1DEA43569B7F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B41EFB3-11D6-AA4B-8128-47D7D7AFAE91}"/>
              </a:ext>
            </a:extLst>
          </p:cNvPr>
          <p:cNvSpPr>
            <a:spLocks noGrp="1"/>
          </p:cNvSpPr>
          <p:nvPr>
            <p:ph type="dt" sz="half" idx="2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2669CF68-145B-AD42-A079-345D6E783D1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458916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nten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291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777045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5111177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7" name="Content Placeholder 3"/>
          <p:cNvSpPr>
            <a:spLocks noGrp="1"/>
          </p:cNvSpPr>
          <p:nvPr>
            <p:ph sz="half" idx="14"/>
          </p:nvPr>
        </p:nvSpPr>
        <p:spPr>
          <a:xfrm>
            <a:off x="7445309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9" name="Content Placeholder 3"/>
          <p:cNvSpPr>
            <a:spLocks noGrp="1"/>
          </p:cNvSpPr>
          <p:nvPr>
            <p:ph sz="half" idx="15"/>
          </p:nvPr>
        </p:nvSpPr>
        <p:spPr>
          <a:xfrm>
            <a:off x="9779443" y="2103438"/>
            <a:ext cx="1972800" cy="406876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4B2DB5C5-A275-6447-991C-726CD70A52A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xmlns="" id="{BCBFC701-7287-1F4F-B6FA-1BECCBF324C6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A06189D-4BB2-3A4B-BC60-C76CE65FA0CC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698595F-E08B-3E4B-8E63-3152F1690C5D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16458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442912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6" name="Picture Placeholder 9"/>
          <p:cNvSpPr>
            <a:spLocks noGrp="1"/>
          </p:cNvSpPr>
          <p:nvPr>
            <p:ph type="pic" sz="quarter" idx="15"/>
          </p:nvPr>
        </p:nvSpPr>
        <p:spPr>
          <a:xfrm>
            <a:off x="4331494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331495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8" name="Picture Placeholder 9"/>
          <p:cNvSpPr>
            <a:spLocks noGrp="1"/>
          </p:cNvSpPr>
          <p:nvPr>
            <p:ph type="pic" sz="quarter" idx="17"/>
          </p:nvPr>
        </p:nvSpPr>
        <p:spPr>
          <a:xfrm>
            <a:off x="8220075" y="2100263"/>
            <a:ext cx="3529013" cy="301752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8220076" y="5280025"/>
            <a:ext cx="3529012" cy="892175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ECB03D1A-AA63-224E-A7F2-44C5BFC3BB18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xmlns="" id="{5CE153FD-285A-D647-ADE4-833E86A9CF52}"/>
              </a:ext>
            </a:extLst>
          </p:cNvPr>
          <p:cNvSpPr>
            <a:spLocks noGrp="1"/>
          </p:cNvSpPr>
          <p:nvPr>
            <p:ph type="subTitle" idx="24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689EEA72-3A8E-454B-8611-EF7B92A8D01E}"/>
              </a:ext>
            </a:extLst>
          </p:cNvPr>
          <p:cNvSpPr>
            <a:spLocks noGrp="1"/>
          </p:cNvSpPr>
          <p:nvPr>
            <p:ph type="dt" sz="half" idx="25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4FA46C5C-0050-F948-8DC9-450AE0734966}"/>
              </a:ext>
            </a:extLst>
          </p:cNvPr>
          <p:cNvSpPr>
            <a:spLocks noGrp="1"/>
          </p:cNvSpPr>
          <p:nvPr>
            <p:ph type="ftr" sz="quarter" idx="26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668900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xt Boxes for Icon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8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3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429000"/>
            <a:ext cx="2560320" cy="27432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200" b="1"/>
            </a:lvl1pPr>
            <a:lvl2pPr>
              <a:spcAft>
                <a:spcPts val="300"/>
              </a:spcAft>
              <a:defRPr/>
            </a:lvl2pPr>
            <a:lvl3pPr>
              <a:spcAft>
                <a:spcPts val="300"/>
              </a:spcAft>
              <a:defRPr/>
            </a:lvl3pPr>
            <a:lvl4pPr>
              <a:spcAft>
                <a:spcPts val="300"/>
              </a:spcAft>
              <a:defRPr/>
            </a:lvl4pPr>
            <a:lvl5pPr>
              <a:spcAft>
                <a:spcPts val="300"/>
              </a:spcAft>
              <a:defRPr/>
            </a:lvl5pPr>
            <a:lvl6pPr>
              <a:spcAft>
                <a:spcPts val="300"/>
              </a:spcAft>
              <a:defRPr/>
            </a:lvl6pPr>
            <a:lvl7pPr>
              <a:spcAft>
                <a:spcPts val="300"/>
              </a:spcAft>
              <a:defRPr/>
            </a:lvl7pPr>
            <a:lvl8pPr>
              <a:spcAft>
                <a:spcPts val="300"/>
              </a:spcAft>
              <a:defRPr/>
            </a:lvl8pPr>
            <a:lvl9pPr>
              <a:spcAft>
                <a:spcPts val="300"/>
              </a:spcAft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53B37F2-903B-D544-93F5-C52542E06C3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xmlns="" id="{DA3591F7-EFF5-C649-BCF8-906639EFF4C9}"/>
              </a:ext>
            </a:extLst>
          </p:cNvPr>
          <p:cNvSpPr>
            <a:spLocks noGrp="1"/>
          </p:cNvSpPr>
          <p:nvPr>
            <p:ph type="subTitle" idx="23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460D960-D902-2048-954B-F454F3A9AB3B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7FAA743-55F3-AE49-BD56-1FC09BDF7C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05044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 bwMode="hidden">
          <a:xfrm>
            <a:off x="0" y="0"/>
            <a:ext cx="8096250" cy="342900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3429000"/>
            <a:ext cx="8096250" cy="1143000"/>
          </a:xfrm>
          <a:prstGeom prst="rect">
            <a:avLst/>
          </a:prstGeom>
          <a:solidFill>
            <a:srgbClr val="7D7D7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>
              <a:solidFill>
                <a:schemeClr val="accent6"/>
              </a:solidFill>
            </a:endParaRPr>
          </a:p>
        </p:txBody>
      </p:sp>
      <p:sp>
        <p:nvSpPr>
          <p:cNvPr id="11" name="Rectangle 10"/>
          <p:cNvSpPr/>
          <p:nvPr/>
        </p:nvSpPr>
        <p:spPr bwMode="hidden">
          <a:xfrm>
            <a:off x="8096250" y="0"/>
            <a:ext cx="4095750" cy="34290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4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7433033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Team Images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 noChangeAspect="1"/>
          </p:cNvSpPr>
          <p:nvPr>
            <p:ph type="pic" sz="quarter" idx="13"/>
          </p:nvPr>
        </p:nvSpPr>
        <p:spPr>
          <a:xfrm>
            <a:off x="44291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6" name="Picture Placeholder 9"/>
          <p:cNvSpPr>
            <a:spLocks noGrp="1" noChangeAspect="1"/>
          </p:cNvSpPr>
          <p:nvPr>
            <p:ph type="pic" sz="quarter" idx="15"/>
          </p:nvPr>
        </p:nvSpPr>
        <p:spPr>
          <a:xfrm>
            <a:off x="335819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335819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8" name="Picture Placeholder 9"/>
          <p:cNvSpPr>
            <a:spLocks noGrp="1" noChangeAspect="1"/>
          </p:cNvSpPr>
          <p:nvPr>
            <p:ph type="pic" sz="quarter" idx="17"/>
          </p:nvPr>
        </p:nvSpPr>
        <p:spPr>
          <a:xfrm>
            <a:off x="6273482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6273482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4" name="Picture Placeholder 9"/>
          <p:cNvSpPr>
            <a:spLocks noGrp="1" noChangeAspect="1"/>
          </p:cNvSpPr>
          <p:nvPr>
            <p:ph type="pic" sz="quarter" idx="19"/>
          </p:nvPr>
        </p:nvSpPr>
        <p:spPr>
          <a:xfrm>
            <a:off x="9188767" y="2103438"/>
            <a:ext cx="1325880" cy="1325880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20" hasCustomPrompt="1"/>
          </p:nvPr>
        </p:nvSpPr>
        <p:spPr>
          <a:xfrm>
            <a:off x="9188767" y="3657600"/>
            <a:ext cx="2560320" cy="2514600"/>
          </a:xfrm>
        </p:spPr>
        <p:txBody>
          <a:bodyPr/>
          <a:lstStyle>
            <a:lvl1pPr>
              <a:spcBef>
                <a:spcPts val="0"/>
              </a:spcBef>
              <a:spcAft>
                <a:spcPts val="300"/>
              </a:spcAft>
              <a:defRPr sz="1600" b="1"/>
            </a:lvl1pPr>
            <a:lvl2pPr>
              <a:spcAft>
                <a:spcPts val="300"/>
              </a:spcAft>
              <a:defRPr sz="1600"/>
            </a:lvl2pPr>
            <a:lvl3pPr>
              <a:spcAft>
                <a:spcPts val="300"/>
              </a:spcAft>
              <a:defRPr sz="1600"/>
            </a:lvl3pPr>
            <a:lvl4pPr>
              <a:spcAft>
                <a:spcPts val="300"/>
              </a:spcAft>
              <a:defRPr sz="1600"/>
            </a:lvl4pPr>
            <a:lvl5pPr>
              <a:spcAft>
                <a:spcPts val="300"/>
              </a:spcAft>
              <a:defRPr sz="1600"/>
            </a:lvl5pPr>
            <a:lvl6pPr>
              <a:spcAft>
                <a:spcPts val="300"/>
              </a:spcAft>
              <a:defRPr sz="1600"/>
            </a:lvl6pPr>
            <a:lvl7pPr>
              <a:spcAft>
                <a:spcPts val="300"/>
              </a:spcAft>
              <a:defRPr sz="1600"/>
            </a:lvl7pPr>
            <a:lvl8pPr>
              <a:spcAft>
                <a:spcPts val="300"/>
              </a:spcAft>
              <a:defRPr sz="1600"/>
            </a:lvl8pPr>
            <a:lvl9pPr>
              <a:spcAft>
                <a:spcPts val="300"/>
              </a:spcAft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21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E0022E1-5A19-8748-8180-279AACB6BB6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0" name="Subtitle 2">
            <a:extLst>
              <a:ext uri="{FF2B5EF4-FFF2-40B4-BE49-F238E27FC236}">
                <a16:creationId xmlns:a16="http://schemas.microsoft.com/office/drawing/2014/main" xmlns="" id="{5194D818-D8E8-5342-BDE8-319BC1FCE4A9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CB65038-8636-4945-8B6F-709A62BEACF1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C9625D97-D89C-574F-8C1D-AA1E4D4B3FAB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626867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-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Title 1"/>
          <p:cNvSpPr>
            <a:spLocks noGrp="1"/>
          </p:cNvSpPr>
          <p:nvPr>
            <p:ph type="title" hasCustomPrompt="1"/>
          </p:nvPr>
        </p:nvSpPr>
        <p:spPr>
          <a:xfrm>
            <a:off x="442913" y="430514"/>
            <a:ext cx="11306175" cy="50292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80C256F8-EAA0-F045-A569-920F86A13F1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xmlns="" id="{E168D6DA-542B-6F48-A3F4-9AAC02852C7A}"/>
              </a:ext>
            </a:extLst>
          </p:cNvPr>
          <p:cNvSpPr>
            <a:spLocks noGrp="1"/>
          </p:cNvSpPr>
          <p:nvPr>
            <p:ph type="subTitle" idx="16" hasCustomPrompt="1"/>
          </p:nvPr>
        </p:nvSpPr>
        <p:spPr>
          <a:xfrm>
            <a:off x="442912" y="933433"/>
            <a:ext cx="11306176" cy="885842"/>
          </a:xfrm>
        </p:spPr>
        <p:txBody>
          <a:bodyPr/>
          <a:lstStyle>
            <a:lvl1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 b="0">
                <a:solidFill>
                  <a:schemeClr val="tx1"/>
                </a:solidFill>
              </a:defRPr>
            </a:lvl1pPr>
            <a:lvl2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2pPr>
            <a:lvl3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3pPr>
            <a:lvl4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4pPr>
            <a:lvl5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5pPr>
            <a:lvl6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6pPr>
            <a:lvl7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7pPr>
            <a:lvl8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8pPr>
            <a:lvl9pPr marL="0" indent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None/>
              <a:defRPr sz="2400"/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F212C7E-F059-4B46-B4D7-79D6BA8599BE}"/>
              </a:ext>
            </a:extLst>
          </p:cNvPr>
          <p:cNvSpPr>
            <a:spLocks noGrp="1"/>
          </p:cNvSpPr>
          <p:nvPr>
            <p:ph type="dt" sz="half" idx="19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9089E013-6DD8-C341-9F6F-8AA53BE6CA02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619045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hidden">
          <a:xfrm>
            <a:off x="0" y="2103438"/>
            <a:ext cx="3971925" cy="4068762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360370" y="2377440"/>
            <a:ext cx="3611880" cy="1737360"/>
          </a:xfrm>
        </p:spPr>
        <p:txBody>
          <a:bodyPr tIns="0" bIns="0" anchor="t" anchorCtr="0"/>
          <a:lstStyle>
            <a:lvl1pPr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 sz="13600" b="1" spc="-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3931920"/>
            <a:ext cx="3328986" cy="2061784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600" b="0">
                <a:solidFill>
                  <a:schemeClr val="bg1"/>
                </a:solidFill>
              </a:defRPr>
            </a:lvl1pPr>
            <a:lvl2pPr marL="18288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2pPr>
            <a:lvl3pPr marL="36576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3pPr>
            <a:lvl4pPr marL="54864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b="0">
                <a:solidFill>
                  <a:schemeClr val="bg1"/>
                </a:solidFill>
              </a:defRPr>
            </a:lvl4pPr>
            <a:lvl5pPr marL="731520" indent="-18288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–"/>
              <a:defRPr b="0">
                <a:solidFill>
                  <a:schemeClr val="bg1"/>
                </a:solidFill>
              </a:defRPr>
            </a:lvl5pPr>
            <a:lvl6pPr marL="91440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6pPr>
            <a:lvl7pPr marL="109728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7pPr>
            <a:lvl8pPr marL="1280160" indent="-182880">
              <a:spcBef>
                <a:spcPts val="0"/>
              </a:spcBef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8pPr>
            <a:lvl9pPr marL="1463040" indent="-182880">
              <a:spcBef>
                <a:spcPts val="0"/>
              </a:spcBef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4327525" y="2095500"/>
            <a:ext cx="7421563" cy="4076699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302031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Info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42913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3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>
          <a:xfrm>
            <a:off x="442913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3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4327524" y="2095500"/>
            <a:ext cx="3533775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14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8222571" y="2095500"/>
            <a:ext cx="3529012" cy="1333500"/>
          </a:xfrm>
        </p:spPr>
        <p:txBody>
          <a:bodyPr anchor="ctr" anchorCtr="0"/>
          <a:lstStyle>
            <a:lvl1pPr>
              <a:lnSpc>
                <a:spcPct val="100000"/>
              </a:lnSpc>
              <a:defRPr sz="8500" b="0" spc="-10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00%</a:t>
            </a:r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6BC21E25-BA96-8149-8793-205BDC26358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xmlns="" id="{904FBFED-85D0-8C43-84C6-BADD19241EDC}"/>
              </a:ext>
            </a:extLst>
          </p:cNvPr>
          <p:cNvSpPr>
            <a:spLocks noGrp="1"/>
          </p:cNvSpPr>
          <p:nvPr>
            <p:ph sz="half" idx="19" hasCustomPrompt="1"/>
          </p:nvPr>
        </p:nvSpPr>
        <p:spPr>
          <a:xfrm>
            <a:off x="4327525" y="3599542"/>
            <a:ext cx="3533775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xmlns="" id="{C7D43B0B-6C29-D449-BC95-219F98DA27E0}"/>
              </a:ext>
            </a:extLst>
          </p:cNvPr>
          <p:cNvSpPr>
            <a:spLocks noGrp="1"/>
          </p:cNvSpPr>
          <p:nvPr>
            <p:ph sz="half" idx="20" hasCustomPrompt="1"/>
          </p:nvPr>
        </p:nvSpPr>
        <p:spPr>
          <a:xfrm>
            <a:off x="8222571" y="3599542"/>
            <a:ext cx="3529012" cy="2578057"/>
          </a:xfrm>
        </p:spPr>
        <p:txBody>
          <a:bodyPr/>
          <a:lstStyle>
            <a:lvl1pPr>
              <a:spcBef>
                <a:spcPts val="0"/>
              </a:spcBef>
              <a:spcAft>
                <a:spcPts val="600"/>
              </a:spcAft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3F3B578-7307-3B4F-9573-5B25CD8634E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4D65346-FB7D-7243-B361-2D5958F844E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43479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onten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xmlns="" id="{534FC478-2103-444D-A788-6C385FEADA1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xmlns="" id="{50208723-B803-0D42-8863-6E0ACA5FA8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xmlns="" id="{B9D3C748-DE6A-F649-888F-43A3773D1D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7406652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103438"/>
            <a:ext cx="3529012" cy="406876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3"/>
          </p:nvPr>
        </p:nvSpPr>
        <p:spPr>
          <a:xfrm>
            <a:off x="5600701" y="1428750"/>
            <a:ext cx="6148387" cy="4743450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240EE541-D951-5343-8A19-5BC13B8C9665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C4A7C0D-ED32-3C4A-A6FA-92C1A14555D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2C2BE143-A791-F940-BA69-8C99703B699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9886569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hart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hart Placeholder 7"/>
          <p:cNvSpPr>
            <a:spLocks noGrp="1"/>
          </p:cNvSpPr>
          <p:nvPr>
            <p:ph type="chart" sz="quarter" idx="13"/>
          </p:nvPr>
        </p:nvSpPr>
        <p:spPr>
          <a:xfrm>
            <a:off x="442913" y="2103438"/>
            <a:ext cx="11306175" cy="4068762"/>
          </a:xfrm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368A692-B2AF-6448-8025-A2D10476E94B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EF6BD465-CD15-EC45-83F1-C724AC166A8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C8247A16-A0E7-4A40-BC88-A10C50CA51F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1531437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Full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0" y="1143000"/>
            <a:ext cx="4572000" cy="4572000"/>
          </a:xfrm>
          <a:solidFill>
            <a:srgbClr val="E0301E"/>
          </a:solidFill>
        </p:spPr>
        <p:txBody>
          <a:bodyPr lIns="438912" tIns="1440000" rIns="252000" bIns="180000"/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3000"/>
              </a:spcAft>
              <a:buFont typeface="Arial" panose="020B0604020202020204" pitchFamily="34" charset="0"/>
              <a:buNone/>
              <a:defRPr sz="26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1">
                <a:solidFill>
                  <a:schemeClr val="tx1"/>
                </a:solidFill>
                <a:latin typeface="+mn-lt"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 b="0">
                <a:solidFill>
                  <a:schemeClr val="tx1"/>
                </a:solidFill>
                <a:latin typeface="+mn-lt"/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1" name="Freeform 5">
            <a:extLst>
              <a:ext uri="{FF2B5EF4-FFF2-40B4-BE49-F238E27FC236}">
                <a16:creationId xmlns:a16="http://schemas.microsoft.com/office/drawing/2014/main" xmlns="" id="{5E9DA768-B963-3547-B650-2E77ED7439D3}"/>
              </a:ext>
            </a:extLst>
          </p:cNvPr>
          <p:cNvSpPr>
            <a:spLocks noChangeAspect="1" noEditPoints="1"/>
          </p:cNvSpPr>
          <p:nvPr userDrawn="1"/>
        </p:nvSpPr>
        <p:spPr bwMode="white">
          <a:xfrm>
            <a:off x="442913" y="1623703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A1D36D47-D12A-3142-B681-815978E85E77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3042CAE4-1315-134B-A97D-6331422E404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751649C-08F4-D84A-9E3B-1FCB427D60BF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4359288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EBA5CA3E-5ADF-C84E-8B6D-07C039516DFE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08ACB6F4-A2A7-6E4D-A8EB-50B5B35AADEB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37FC6095-B1C7-6143-B9FD-C545A6D03573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DAF7A802-0AAE-FA43-8858-03590E76403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879888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1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bg2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3" y="1714500"/>
            <a:ext cx="5299393" cy="445770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10" name="Freeform 5">
            <a:extLst>
              <a:ext uri="{FF2B5EF4-FFF2-40B4-BE49-F238E27FC236}">
                <a16:creationId xmlns:a16="http://schemas.microsoft.com/office/drawing/2014/main" xmlns="" id="{751F50DC-1032-F848-8EFD-503462F60157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687001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0618CEB-562C-EF47-A905-BA1BD3BB0B4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B7BEC181-486E-E441-8900-B8446C2DF2C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61E6323-CD0D-424F-880F-557372819009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27919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216161354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/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07AD3661-A443-F74F-9528-11F7BA264BF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00000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E5DC986-4502-464F-A426-50A70EA2E4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E17195B-4456-9145-8D6E-97A5EBDF80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FC67263F-492F-7F4E-9E89-2A38E1B27F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750339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9" name="Freeform 5">
            <a:extLst>
              <a:ext uri="{FF2B5EF4-FFF2-40B4-BE49-F238E27FC236}">
                <a16:creationId xmlns:a16="http://schemas.microsoft.com/office/drawing/2014/main" xmlns="" id="{753C6A26-069C-C142-8C96-315DE67FAD0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xmlns="" id="{F95925A0-A65A-B94F-AD42-4A17D5E9B6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xmlns="" id="{01CB2D71-BA29-2E4C-A7F8-AB7C48FCE9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xmlns="" id="{1E0FBAD1-BD7F-C249-B609-9F42DAA28A2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2650774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75C37678-6A0A-C84B-9A52-9B7F891FFFD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75944E79-860F-9542-986D-3F487E1126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6503EA61-A2A9-8D46-A8C8-F5D81CC931C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E4410A1E-B181-CB46-A25E-398B598C5B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913591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F3D58181-4255-CF4B-AEC5-6ADD879A60CA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33DF2FE2-E936-7745-91D2-A6D8CA7F5D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A54FEE05-057D-214D-903C-F8FD6A36D2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DD12AF3-FC08-E446-85E1-796189A848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6971059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2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442914" y="2274570"/>
            <a:ext cx="9540366" cy="3897630"/>
          </a:xfrm>
        </p:spPr>
        <p:txBody>
          <a:bodyPr/>
          <a:lstStyle>
            <a:lvl1pPr>
              <a:lnSpc>
                <a:spcPct val="85000"/>
              </a:lnSpc>
              <a:spcBef>
                <a:spcPts val="0"/>
              </a:spcBef>
              <a:spcAft>
                <a:spcPts val="3000"/>
              </a:spcAft>
              <a:defRPr sz="3800" b="0">
                <a:solidFill>
                  <a:schemeClr val="tx1"/>
                </a:solidFill>
                <a:latin typeface="+mj-lt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xmlns="" id="{056180B7-FBDB-F345-B5D1-21FE86D79BA3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1362959"/>
            <a:ext cx="871538" cy="679450"/>
          </a:xfrm>
          <a:custGeom>
            <a:avLst/>
            <a:gdLst>
              <a:gd name="T0" fmla="*/ 1757 w 1811"/>
              <a:gd name="T1" fmla="*/ 1424 h 1424"/>
              <a:gd name="T2" fmla="*/ 1757 w 1811"/>
              <a:gd name="T3" fmla="*/ 1424 h 1424"/>
              <a:gd name="T4" fmla="*/ 1099 w 1811"/>
              <a:gd name="T5" fmla="*/ 1424 h 1424"/>
              <a:gd name="T6" fmla="*/ 1099 w 1811"/>
              <a:gd name="T7" fmla="*/ 953 h 1424"/>
              <a:gd name="T8" fmla="*/ 1149 w 1811"/>
              <a:gd name="T9" fmla="*/ 501 h 1424"/>
              <a:gd name="T10" fmla="*/ 1337 w 1811"/>
              <a:gd name="T11" fmla="*/ 206 h 1424"/>
              <a:gd name="T12" fmla="*/ 1682 w 1811"/>
              <a:gd name="T13" fmla="*/ 0 h 1424"/>
              <a:gd name="T14" fmla="*/ 1811 w 1811"/>
              <a:gd name="T15" fmla="*/ 271 h 1424"/>
              <a:gd name="T16" fmla="*/ 1529 w 1811"/>
              <a:gd name="T17" fmla="*/ 454 h 1424"/>
              <a:gd name="T18" fmla="*/ 1439 w 1811"/>
              <a:gd name="T19" fmla="*/ 766 h 1424"/>
              <a:gd name="T20" fmla="*/ 1757 w 1811"/>
              <a:gd name="T21" fmla="*/ 766 h 1424"/>
              <a:gd name="T22" fmla="*/ 1757 w 1811"/>
              <a:gd name="T23" fmla="*/ 1424 h 1424"/>
              <a:gd name="T24" fmla="*/ 658 w 1811"/>
              <a:gd name="T25" fmla="*/ 1424 h 1424"/>
              <a:gd name="T26" fmla="*/ 658 w 1811"/>
              <a:gd name="T27" fmla="*/ 1424 h 1424"/>
              <a:gd name="T28" fmla="*/ 0 w 1811"/>
              <a:gd name="T29" fmla="*/ 1424 h 1424"/>
              <a:gd name="T30" fmla="*/ 0 w 1811"/>
              <a:gd name="T31" fmla="*/ 953 h 1424"/>
              <a:gd name="T32" fmla="*/ 50 w 1811"/>
              <a:gd name="T33" fmla="*/ 502 h 1424"/>
              <a:gd name="T34" fmla="*/ 236 w 1811"/>
              <a:gd name="T35" fmla="*/ 206 h 1424"/>
              <a:gd name="T36" fmla="*/ 583 w 1811"/>
              <a:gd name="T37" fmla="*/ 0 h 1424"/>
              <a:gd name="T38" fmla="*/ 712 w 1811"/>
              <a:gd name="T39" fmla="*/ 271 h 1424"/>
              <a:gd name="T40" fmla="*/ 430 w 1811"/>
              <a:gd name="T41" fmla="*/ 454 h 1424"/>
              <a:gd name="T42" fmla="*/ 339 w 1811"/>
              <a:gd name="T43" fmla="*/ 766 h 1424"/>
              <a:gd name="T44" fmla="*/ 658 w 1811"/>
              <a:gd name="T45" fmla="*/ 766 h 1424"/>
              <a:gd name="T46" fmla="*/ 658 w 1811"/>
              <a:gd name="T47" fmla="*/ 1424 h 14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811" h="1424">
                <a:moveTo>
                  <a:pt x="1757" y="1424"/>
                </a:moveTo>
                <a:lnTo>
                  <a:pt x="1757" y="1424"/>
                </a:lnTo>
                <a:lnTo>
                  <a:pt x="1099" y="1424"/>
                </a:lnTo>
                <a:lnTo>
                  <a:pt x="1099" y="953"/>
                </a:lnTo>
                <a:cubicBezTo>
                  <a:pt x="1099" y="761"/>
                  <a:pt x="1115" y="610"/>
                  <a:pt x="1149" y="501"/>
                </a:cubicBezTo>
                <a:cubicBezTo>
                  <a:pt x="1183" y="392"/>
                  <a:pt x="1245" y="293"/>
                  <a:pt x="1337" y="206"/>
                </a:cubicBezTo>
                <a:cubicBezTo>
                  <a:pt x="1428" y="118"/>
                  <a:pt x="1543" y="50"/>
                  <a:pt x="1682" y="0"/>
                </a:cubicBezTo>
                <a:lnTo>
                  <a:pt x="1811" y="271"/>
                </a:lnTo>
                <a:cubicBezTo>
                  <a:pt x="1680" y="315"/>
                  <a:pt x="1586" y="376"/>
                  <a:pt x="1529" y="454"/>
                </a:cubicBezTo>
                <a:cubicBezTo>
                  <a:pt x="1472" y="532"/>
                  <a:pt x="1442" y="636"/>
                  <a:pt x="1439" y="766"/>
                </a:cubicBezTo>
                <a:lnTo>
                  <a:pt x="1757" y="766"/>
                </a:lnTo>
                <a:lnTo>
                  <a:pt x="1757" y="1424"/>
                </a:lnTo>
                <a:close/>
                <a:moveTo>
                  <a:pt x="658" y="1424"/>
                </a:moveTo>
                <a:lnTo>
                  <a:pt x="658" y="1424"/>
                </a:lnTo>
                <a:lnTo>
                  <a:pt x="0" y="1424"/>
                </a:lnTo>
                <a:lnTo>
                  <a:pt x="0" y="953"/>
                </a:lnTo>
                <a:cubicBezTo>
                  <a:pt x="0" y="763"/>
                  <a:pt x="16" y="612"/>
                  <a:pt x="50" y="502"/>
                </a:cubicBezTo>
                <a:cubicBezTo>
                  <a:pt x="83" y="392"/>
                  <a:pt x="146" y="293"/>
                  <a:pt x="236" y="206"/>
                </a:cubicBezTo>
                <a:cubicBezTo>
                  <a:pt x="327" y="118"/>
                  <a:pt x="442" y="50"/>
                  <a:pt x="583" y="0"/>
                </a:cubicBezTo>
                <a:lnTo>
                  <a:pt x="712" y="271"/>
                </a:lnTo>
                <a:cubicBezTo>
                  <a:pt x="581" y="315"/>
                  <a:pt x="487" y="376"/>
                  <a:pt x="430" y="454"/>
                </a:cubicBezTo>
                <a:cubicBezTo>
                  <a:pt x="373" y="532"/>
                  <a:pt x="342" y="636"/>
                  <a:pt x="339" y="766"/>
                </a:cubicBezTo>
                <a:lnTo>
                  <a:pt x="658" y="766"/>
                </a:lnTo>
                <a:lnTo>
                  <a:pt x="658" y="1424"/>
                </a:lnTo>
                <a:close/>
              </a:path>
            </a:pathLst>
          </a:custGeom>
          <a:solidFill>
            <a:srgbClr val="FFFFFF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9BB60EFE-B508-D848-9B02-A73119F180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DC3B4447-C39F-954F-B842-43560F6E9D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F9D7BB50-999D-5745-BB53-0110666510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1416141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Subtitle 2">
            <a:extLst>
              <a:ext uri="{FF2B5EF4-FFF2-40B4-BE49-F238E27FC236}">
                <a16:creationId xmlns:a16="http://schemas.microsoft.com/office/drawing/2014/main" xmlns="" id="{A1971A9E-1347-2E4A-8F01-32BA5D5488B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27678646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xmlns="" id="{C60A2100-6DF1-414A-91DA-B6027C61BAA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20458583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xmlns="" id="{96D911B5-C441-B44D-9980-56426B1A19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4617398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>
          <a:xfrm>
            <a:off x="4951413" y="2103438"/>
            <a:ext cx="4936658" cy="2564265"/>
          </a:xfrm>
        </p:spPr>
        <p:txBody>
          <a:bodyPr anchor="t" anchorCtr="0">
            <a:noAutofit/>
          </a:bodyPr>
          <a:lstStyle>
            <a:lvl1pPr>
              <a:lnSpc>
                <a:spcPct val="85000"/>
              </a:lnSpc>
              <a:defRPr sz="40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5" name="Subtitle 2">
            <a:extLst>
              <a:ext uri="{FF2B5EF4-FFF2-40B4-BE49-F238E27FC236}">
                <a16:creationId xmlns:a16="http://schemas.microsoft.com/office/drawing/2014/main" xmlns="" id="{4F941B13-F925-1C4F-8990-F4149ED1B1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2" y="0"/>
            <a:ext cx="4344987" cy="6858000"/>
          </a:xfrm>
          <a:noFill/>
        </p:spPr>
        <p:txBody>
          <a:bodyPr anchor="ctr" anchorCtr="0"/>
          <a:lstStyle>
            <a:lvl1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 b="0">
                <a:solidFill>
                  <a:schemeClr val="bg1"/>
                </a:solidFill>
              </a:defRPr>
            </a:lvl1pPr>
            <a:lvl2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2pPr>
            <a:lvl3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3pPr>
            <a:lvl4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4pPr>
            <a:lvl5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5pPr>
            <a:lvl6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6pPr>
            <a:lvl7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7pPr>
            <a:lvl8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8pPr>
            <a:lvl9pPr marL="0" indent="0" algn="l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None/>
              <a:defRPr sz="650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0</a:t>
            </a:r>
          </a:p>
        </p:txBody>
      </p:sp>
    </p:spTree>
    <p:extLst>
      <p:ext uri="{BB962C8B-B14F-4D97-AF65-F5344CB8AC3E}">
        <p14:creationId xmlns:p14="http://schemas.microsoft.com/office/powerpoint/2010/main" val="1342878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Orange Manual">
    <p:bg>
      <p:bgPr>
        <a:solidFill>
          <a:srgbClr val="D04A0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E9D68526-5625-1E4A-90D0-6166C1CB09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2079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All Whit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2" y="428625"/>
            <a:ext cx="7418388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60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3749040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</p:spTree>
    <p:extLst>
      <p:ext uri="{BB962C8B-B14F-4D97-AF65-F5344CB8AC3E}">
        <p14:creationId xmlns:p14="http://schemas.microsoft.com/office/powerpoint/2010/main" val="52878329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ed Manual">
    <p:bg>
      <p:bgPr>
        <a:solidFill>
          <a:srgbClr val="E030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87054294-58FB-3646-A032-19FD697995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8878147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Rose Manual">
    <p:bg>
      <p:bgPr>
        <a:solidFill>
          <a:srgbClr val="DB536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C0F4BCE9-03B0-5C4D-A70B-519F67263F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723853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 Manual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xmlns="" id="{CD146EE5-5980-A84E-9311-F5B9956E43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428625"/>
            <a:ext cx="1374457" cy="1965960"/>
          </a:xfrm>
        </p:spPr>
        <p:txBody>
          <a:bodyPr anchor="t" anchorCtr="0">
            <a:noAutofit/>
          </a:bodyPr>
          <a:lstStyle>
            <a:lvl1pPr>
              <a:lnSpc>
                <a:spcPct val="80000"/>
              </a:lnSpc>
              <a:defRPr sz="144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0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294306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5AE750E3-3DF6-B94E-959B-C6E962A30CC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78ADAC9E-8878-DA41-A1D3-2D5C54FB456A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839088E2-6117-534E-A3B5-65400594E309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029187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6E9B7AB-8379-3341-BEF5-2E85A7299A7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859B7FC3-54D3-A044-9662-AED001F4D972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03092CA8-9C8A-8146-8F00-4833507614AE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36F1B729-0FCF-4073-BE32-7AF37F32258B}"/>
              </a:ext>
            </a:extLst>
          </p:cNvPr>
          <p:cNvSpPr/>
          <p:nvPr userDrawn="1"/>
        </p:nvSpPr>
        <p:spPr>
          <a:xfrm>
            <a:off x="200025" y="6355080"/>
            <a:ext cx="666750" cy="3600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l-GR" sz="1600"/>
          </a:p>
        </p:txBody>
      </p:sp>
    </p:spTree>
    <p:extLst>
      <p:ext uri="{BB962C8B-B14F-4D97-AF65-F5344CB8AC3E}">
        <p14:creationId xmlns:p14="http://schemas.microsoft.com/office/powerpoint/2010/main" val="110643669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Dark">
    <p:bg>
      <p:bgPr>
        <a:solidFill>
          <a:srgbClr val="46464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97A53FBC-337E-0D4B-8811-6E0EEC0A9293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 err="1">
                <a:solidFill>
                  <a:schemeClr val="bg1"/>
                </a:solidFill>
              </a:rPr>
              <a:t>pwc.com</a:t>
            </a:r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225599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 You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 bwMode="hidden">
          <a:xfrm>
            <a:off x="0" y="4940854"/>
            <a:ext cx="12192000" cy="1917146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4" y="428625"/>
            <a:ext cx="5473699" cy="2428874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8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7" name="AutoShape 3"/>
          <p:cNvSpPr>
            <a:spLocks noChangeAspect="1" noChangeArrowheads="1" noTextEdit="1"/>
          </p:cNvSpPr>
          <p:nvPr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442912" y="5259600"/>
            <a:ext cx="11306176" cy="1451610"/>
          </a:xfrm>
        </p:spPr>
        <p:txBody>
          <a:bodyPr/>
          <a:lstStyle>
            <a:lvl1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 b="0">
                <a:solidFill>
                  <a:schemeClr val="bg1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Legal]</a:t>
            </a:r>
          </a:p>
        </p:txBody>
      </p:sp>
      <p:sp>
        <p:nvSpPr>
          <p:cNvPr id="9" name="AutoShape 3"/>
          <p:cNvSpPr>
            <a:spLocks noChangeAspect="1" noChangeArrowheads="1" noTextEdit="1"/>
          </p:cNvSpPr>
          <p:nvPr userDrawn="1"/>
        </p:nvSpPr>
        <p:spPr bwMode="auto">
          <a:xfrm>
            <a:off x="5334000" y="0"/>
            <a:ext cx="6858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xmlns="" id="{3745B5A1-1961-2549-9AC7-6FB51905A5F2}"/>
              </a:ext>
            </a:extLst>
          </p:cNvPr>
          <p:cNvSpPr txBox="1"/>
          <p:nvPr userDrawn="1"/>
        </p:nvSpPr>
        <p:spPr>
          <a:xfrm>
            <a:off x="442913" y="4400548"/>
            <a:ext cx="5473699" cy="34049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100000"/>
              </a:lnSpc>
              <a:spcBef>
                <a:spcPts val="0"/>
              </a:spcBef>
              <a:buSzPct val="100000"/>
              <a:buFont typeface="Arial"/>
              <a:buNone/>
            </a:pPr>
            <a:r>
              <a:rPr lang="en-US" sz="1200" dirty="0" err="1">
                <a:solidFill>
                  <a:schemeClr val="tx1"/>
                </a:solidFill>
              </a:rPr>
              <a:t>pwc.com</a:t>
            </a:r>
            <a:endParaRPr lang="en-US" sz="12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075693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 bwMode="gray">
          <a:xfrm>
            <a:off x="593313" y="1373448"/>
            <a:ext cx="10979572" cy="4862370"/>
          </a:xfrm>
        </p:spPr>
        <p:txBody>
          <a:bodyPr/>
          <a:lstStyle/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Untertitel 2"/>
          <p:cNvSpPr>
            <a:spLocks noGrp="1"/>
          </p:cNvSpPr>
          <p:nvPr>
            <p:ph type="subTitle" idx="14"/>
          </p:nvPr>
        </p:nvSpPr>
        <p:spPr bwMode="gray">
          <a:xfrm>
            <a:off x="600019" y="908530"/>
            <a:ext cx="10972866" cy="315478"/>
          </a:xfrm>
        </p:spPr>
        <p:txBody>
          <a:bodyPr/>
          <a:lstStyle>
            <a:lvl1pPr marL="0" indent="0" algn="l">
              <a:buNone/>
              <a:defRPr sz="1100">
                <a:solidFill>
                  <a:schemeClr val="bg1"/>
                </a:solidFill>
              </a:defRPr>
            </a:lvl1pPr>
            <a:lvl2pPr marL="0" indent="0" algn="l">
              <a:buNone/>
              <a:defRPr sz="1100">
                <a:solidFill>
                  <a:schemeClr val="bg1"/>
                </a:solidFill>
              </a:defRPr>
            </a:lvl2pPr>
            <a:lvl3pPr marL="0" indent="0" algn="l">
              <a:buNone/>
              <a:defRPr sz="1100">
                <a:solidFill>
                  <a:schemeClr val="bg1"/>
                </a:solidFill>
              </a:defRPr>
            </a:lvl3pPr>
            <a:lvl4pPr marL="1392" indent="0" algn="l">
              <a:buNone/>
              <a:defRPr sz="1100">
                <a:solidFill>
                  <a:schemeClr val="bg1"/>
                </a:solidFill>
              </a:defRPr>
            </a:lvl4pPr>
            <a:lvl5pPr marL="0" indent="0" algn="l">
              <a:buNone/>
              <a:defRPr sz="1100">
                <a:solidFill>
                  <a:schemeClr val="bg1"/>
                </a:solidFill>
              </a:defRPr>
            </a:lvl5pPr>
            <a:lvl6pPr marL="0" indent="0" algn="l">
              <a:buNone/>
              <a:defRPr sz="1100">
                <a:solidFill>
                  <a:schemeClr val="bg1"/>
                </a:solidFill>
              </a:defRPr>
            </a:lvl6pPr>
            <a:lvl7pPr marL="0" indent="0" algn="l">
              <a:buNone/>
              <a:defRPr sz="1100">
                <a:solidFill>
                  <a:schemeClr val="bg1"/>
                </a:solidFill>
              </a:defRPr>
            </a:lvl7pPr>
            <a:lvl8pPr marL="1392" indent="0" algn="l">
              <a:buNone/>
              <a:defRPr sz="1100">
                <a:solidFill>
                  <a:schemeClr val="bg1"/>
                </a:solidFill>
              </a:defRPr>
            </a:lvl8pPr>
            <a:lvl9pPr marL="0" indent="0" algn="l">
              <a:buNone/>
              <a:defRPr sz="11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3765684"/>
      </p:ext>
    </p:extLst>
  </p:cSld>
  <p:clrMapOvr>
    <a:masterClrMapping/>
  </p:clrMapOvr>
  <p:transition spd="med">
    <p:fade/>
  </p:transition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Τίτλος και περιεχό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A4FBAB9C-7191-4C0D-ADEA-35C9ACC7F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Θέση περιεχομένου 2">
            <a:extLst>
              <a:ext uri="{FF2B5EF4-FFF2-40B4-BE49-F238E27FC236}">
                <a16:creationId xmlns:a16="http://schemas.microsoft.com/office/drawing/2014/main" xmlns="" id="{28F7AFDF-DD36-4A45-97ED-FD1CBAEC137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/>
              <a:t>Επεξεργασία στυλ υποδείγματος κειμένου</a:t>
            </a:r>
          </a:p>
          <a:p>
            <a:pPr lvl="1"/>
            <a:r>
              <a:rPr lang="el-GR"/>
              <a:t>Δεύτερου επιπέδου</a:t>
            </a:r>
          </a:p>
          <a:p>
            <a:pPr lvl="2"/>
            <a:r>
              <a:rPr lang="el-GR"/>
              <a:t>Τρίτου επιπέδου</a:t>
            </a:r>
          </a:p>
          <a:p>
            <a:pPr lvl="3"/>
            <a:r>
              <a:rPr lang="el-GR"/>
              <a:t>Τέταρτου επιπέδου</a:t>
            </a:r>
          </a:p>
          <a:p>
            <a:pPr lvl="4"/>
            <a:r>
              <a:rPr lang="el-GR"/>
              <a:t>Πέμπτου επιπέδου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xmlns="" id="{E1FF59B0-B87A-48CB-BB19-38CCFA1B0EB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264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xmlns="" id="{D3A077FC-EA1B-48DB-BAA4-911E5392DDF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264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l-GR"/>
              <a:t>Πηγή δεδομένων:09.02.2021</a:t>
            </a:r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xmlns="" id="{56B21AF1-1DB3-4EF7-A5AE-86CF376BBC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31D6E949-3AC6-4020-A3CA-998A042D50A6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57310978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xmlns="" id="{AFDDE9ED-109E-449E-BA96-F3DB347950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199" y="1122103"/>
            <a:ext cx="9145190" cy="2387047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el-GR"/>
              <a:t>Κάντε κλικ για να επεξεργαστείτε τον τίτλο υποδείγματος</a:t>
            </a:r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xmlns="" id="{9C460C08-9A44-42A3-83B4-BFC8DF1E1E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199" y="3601204"/>
            <a:ext cx="9145190" cy="1655379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09" indent="0" algn="ctr">
              <a:buNone/>
              <a:defRPr sz="2000"/>
            </a:lvl2pPr>
            <a:lvl3pPr marL="914217" indent="0" algn="ctr">
              <a:buNone/>
              <a:defRPr sz="1800"/>
            </a:lvl3pPr>
            <a:lvl4pPr marL="1371326" indent="0" algn="ctr">
              <a:buNone/>
              <a:defRPr sz="1600"/>
            </a:lvl4pPr>
            <a:lvl5pPr marL="1828434" indent="0" algn="ctr">
              <a:buNone/>
              <a:defRPr sz="1600"/>
            </a:lvl5pPr>
            <a:lvl6pPr marL="2285543" indent="0" algn="ctr">
              <a:buNone/>
              <a:defRPr sz="1600"/>
            </a:lvl6pPr>
            <a:lvl7pPr marL="2742651" indent="0" algn="ctr">
              <a:buNone/>
              <a:defRPr sz="1600"/>
            </a:lvl7pPr>
            <a:lvl8pPr marL="3199760" indent="0" algn="ctr">
              <a:buNone/>
              <a:defRPr sz="1600"/>
            </a:lvl8pPr>
            <a:lvl9pPr marL="3656868" indent="0" algn="ctr">
              <a:buNone/>
              <a:defRPr sz="1600"/>
            </a:lvl9pPr>
          </a:lstStyle>
          <a:p>
            <a:r>
              <a:rPr lang="el-GR"/>
              <a:t>Κάντε κλικ για να επεξεργαστείτε τον υπότιτλο του υποδείγματος</a:t>
            </a:r>
          </a:p>
        </p:txBody>
      </p:sp>
      <p:sp>
        <p:nvSpPr>
          <p:cNvPr id="4" name="Θέση ημερομηνίας 3">
            <a:extLst>
              <a:ext uri="{FF2B5EF4-FFF2-40B4-BE49-F238E27FC236}">
                <a16:creationId xmlns:a16="http://schemas.microsoft.com/office/drawing/2014/main" xmlns="" id="{CB78B5AC-CCBB-4916-8643-908F4E84CA0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264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5" name="Θέση υποσέλιδου 4">
            <a:extLst>
              <a:ext uri="{FF2B5EF4-FFF2-40B4-BE49-F238E27FC236}">
                <a16:creationId xmlns:a16="http://schemas.microsoft.com/office/drawing/2014/main" xmlns="" id="{056BFC02-5D20-412B-9FD7-6B98B1BDF0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0" cy="0"/>
          </a:xfrm>
        </p:spPr>
        <p:txBody>
          <a:bodyPr/>
          <a:lstStyle>
            <a:lvl1pPr defTabSz="914264" eaLnBrk="1" fontAlgn="auto" hangingPunct="1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l-GR"/>
              <a:t>Πηγή δεδομένων:09.02.2021</a:t>
            </a:r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xmlns="" id="{82ED1282-E75E-4A0E-8DC4-377D225653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0"/>
            <a:ext cx="0" cy="0"/>
          </a:xfr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/>
            </a:lvl1pPr>
          </a:lstStyle>
          <a:p>
            <a:fld id="{CECB8000-1961-4968-A0B6-526CFD6F35D0}" type="slidenum">
              <a:rPr lang="el-GR" altLang="el-GR"/>
              <a:pPr/>
              <a:t>‹#›</a:t>
            </a:fld>
            <a:endParaRPr lang="el-GR" altLang="el-GR"/>
          </a:p>
        </p:txBody>
      </p:sp>
    </p:spTree>
    <p:extLst>
      <p:ext uri="{BB962C8B-B14F-4D97-AF65-F5344CB8AC3E}">
        <p14:creationId xmlns:p14="http://schemas.microsoft.com/office/powerpoint/2010/main" val="9011105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6096000" y="0"/>
            <a:ext cx="6096000" cy="4575812"/>
          </a:xfrm>
          <a:solidFill>
            <a:srgbClr val="DEDEDE"/>
          </a:solidFill>
        </p:spPr>
        <p:txBody>
          <a:bodyPr anchor="ctr" anchorCtr="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Rectangle 8"/>
          <p:cNvSpPr/>
          <p:nvPr/>
        </p:nvSpPr>
        <p:spPr bwMode="hidden">
          <a:xfrm>
            <a:off x="0" y="0"/>
            <a:ext cx="6096000" cy="4575812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/>
          <p:cNvSpPr/>
          <p:nvPr/>
        </p:nvSpPr>
        <p:spPr bwMode="hidden">
          <a:xfrm>
            <a:off x="0" y="4575812"/>
            <a:ext cx="6096000" cy="2282188"/>
          </a:xfrm>
          <a:prstGeom prst="rect">
            <a:avLst/>
          </a:prstGeom>
          <a:solidFill>
            <a:srgbClr val="D04A0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42913" y="428625"/>
            <a:ext cx="5473700" cy="2066926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42913" y="5101594"/>
            <a:ext cx="5473700" cy="59436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009BFEA4-1A04-C344-804A-E610366F998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 bwMode="gray">
          <a:xfrm>
            <a:off x="10337737" y="5330952"/>
            <a:ext cx="1636776" cy="1351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614064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nes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xmlns="" id="{E91E7E14-05A1-3C44-AC4F-3B254DA49C58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xmlns="" id="{30AF71D2-4341-774D-95E6-2A6EC9FAB977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0" y="0"/>
              <a:ext cx="12192000" cy="6858000"/>
              <a:chOff x="152400" y="152400"/>
              <a:chExt cx="12196763" cy="6862763"/>
            </a:xfrm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xmlns="" id="{EB6FF182-420C-CE44-A08A-9911616955D9}"/>
                  </a:ext>
                </a:extLst>
              </p:cNvPr>
              <p:cNvSpPr>
                <a:spLocks noChangeAspect="1"/>
              </p:cNvSpPr>
              <p:nvPr/>
            </p:nvSpPr>
            <p:spPr bwMode="hidden">
              <a:xfrm>
                <a:off x="152400" y="3775075"/>
                <a:ext cx="9142413" cy="777875"/>
              </a:xfrm>
              <a:custGeom>
                <a:avLst/>
                <a:gdLst>
                  <a:gd name="T0" fmla="*/ 0 w 7908"/>
                  <a:gd name="T1" fmla="*/ 0 h 1632"/>
                  <a:gd name="T2" fmla="*/ 0 w 7908"/>
                  <a:gd name="T3" fmla="*/ 0 h 1632"/>
                  <a:gd name="T4" fmla="*/ 7908 w 7908"/>
                  <a:gd name="T5" fmla="*/ 0 h 1632"/>
                  <a:gd name="T6" fmla="*/ 7908 w 7908"/>
                  <a:gd name="T7" fmla="*/ 1632 h 1632"/>
                  <a:gd name="T8" fmla="*/ 0 w 7908"/>
                  <a:gd name="T9" fmla="*/ 1632 h 1632"/>
                  <a:gd name="T10" fmla="*/ 0 w 7908"/>
                  <a:gd name="T11" fmla="*/ 0 h 16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7908" h="1632">
                    <a:moveTo>
                      <a:pt x="0" y="0"/>
                    </a:moveTo>
                    <a:lnTo>
                      <a:pt x="0" y="0"/>
                    </a:lnTo>
                    <a:lnTo>
                      <a:pt x="7908" y="0"/>
                    </a:lnTo>
                    <a:lnTo>
                      <a:pt x="7908" y="1632"/>
                    </a:lnTo>
                    <a:lnTo>
                      <a:pt x="0" y="1632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D04A0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  <p:sp>
            <p:nvSpPr>
              <p:cNvPr id="7" name="Freeform 6">
                <a:extLst>
                  <a:ext uri="{FF2B5EF4-FFF2-40B4-BE49-F238E27FC236}">
                    <a16:creationId xmlns:a16="http://schemas.microsoft.com/office/drawing/2014/main" xmlns="" id="{3BE432B1-2C50-3E4E-AD63-D3F80C22CFAE}"/>
                  </a:ext>
                </a:extLst>
              </p:cNvPr>
              <p:cNvSpPr>
                <a:spLocks noChangeAspect="1"/>
              </p:cNvSpPr>
              <p:nvPr/>
            </p:nvSpPr>
            <p:spPr bwMode="white">
              <a:xfrm>
                <a:off x="152400" y="152400"/>
                <a:ext cx="12196763" cy="6862763"/>
              </a:xfrm>
              <a:custGeom>
                <a:avLst/>
                <a:gdLst>
                  <a:gd name="T0" fmla="*/ 19187 w 25599"/>
                  <a:gd name="T1" fmla="*/ 0 h 14399"/>
                  <a:gd name="T2" fmla="*/ 19187 w 25599"/>
                  <a:gd name="T3" fmla="*/ 0 h 14399"/>
                  <a:gd name="T4" fmla="*/ 19187 w 25599"/>
                  <a:gd name="T5" fmla="*/ 6949 h 14399"/>
                  <a:gd name="T6" fmla="*/ 0 w 25599"/>
                  <a:gd name="T7" fmla="*/ 6949 h 14399"/>
                  <a:gd name="T8" fmla="*/ 0 w 25599"/>
                  <a:gd name="T9" fmla="*/ 7602 h 14399"/>
                  <a:gd name="T10" fmla="*/ 19187 w 25599"/>
                  <a:gd name="T11" fmla="*/ 7602 h 14399"/>
                  <a:gd name="T12" fmla="*/ 19187 w 25599"/>
                  <a:gd name="T13" fmla="*/ 9234 h 14399"/>
                  <a:gd name="T14" fmla="*/ 0 w 25599"/>
                  <a:gd name="T15" fmla="*/ 9234 h 14399"/>
                  <a:gd name="T16" fmla="*/ 0 w 25599"/>
                  <a:gd name="T17" fmla="*/ 9887 h 14399"/>
                  <a:gd name="T18" fmla="*/ 19187 w 25599"/>
                  <a:gd name="T19" fmla="*/ 9887 h 14399"/>
                  <a:gd name="T20" fmla="*/ 19187 w 25599"/>
                  <a:gd name="T21" fmla="*/ 14399 h 14399"/>
                  <a:gd name="T22" fmla="*/ 19839 w 25599"/>
                  <a:gd name="T23" fmla="*/ 14399 h 14399"/>
                  <a:gd name="T24" fmla="*/ 19839 w 25599"/>
                  <a:gd name="T25" fmla="*/ 9887 h 14399"/>
                  <a:gd name="T26" fmla="*/ 25599 w 25599"/>
                  <a:gd name="T27" fmla="*/ 9887 h 14399"/>
                  <a:gd name="T28" fmla="*/ 25599 w 25599"/>
                  <a:gd name="T29" fmla="*/ 9234 h 14399"/>
                  <a:gd name="T30" fmla="*/ 19839 w 25599"/>
                  <a:gd name="T31" fmla="*/ 9234 h 14399"/>
                  <a:gd name="T32" fmla="*/ 19839 w 25599"/>
                  <a:gd name="T33" fmla="*/ 7602 h 14399"/>
                  <a:gd name="T34" fmla="*/ 25599 w 25599"/>
                  <a:gd name="T35" fmla="*/ 7602 h 14399"/>
                  <a:gd name="T36" fmla="*/ 25599 w 25599"/>
                  <a:gd name="T37" fmla="*/ 6949 h 14399"/>
                  <a:gd name="T38" fmla="*/ 19839 w 25599"/>
                  <a:gd name="T39" fmla="*/ 6949 h 14399"/>
                  <a:gd name="T40" fmla="*/ 19839 w 25599"/>
                  <a:gd name="T41" fmla="*/ 0 h 14399"/>
                  <a:gd name="T42" fmla="*/ 19187 w 25599"/>
                  <a:gd name="T43" fmla="*/ 0 h 1439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25599" h="14399">
                    <a:moveTo>
                      <a:pt x="19187" y="0"/>
                    </a:moveTo>
                    <a:lnTo>
                      <a:pt x="19187" y="0"/>
                    </a:lnTo>
                    <a:lnTo>
                      <a:pt x="19187" y="6949"/>
                    </a:lnTo>
                    <a:lnTo>
                      <a:pt x="0" y="6949"/>
                    </a:lnTo>
                    <a:lnTo>
                      <a:pt x="0" y="7602"/>
                    </a:lnTo>
                    <a:lnTo>
                      <a:pt x="19187" y="7602"/>
                    </a:lnTo>
                    <a:lnTo>
                      <a:pt x="19187" y="9234"/>
                    </a:lnTo>
                    <a:lnTo>
                      <a:pt x="0" y="9234"/>
                    </a:lnTo>
                    <a:lnTo>
                      <a:pt x="0" y="9887"/>
                    </a:lnTo>
                    <a:lnTo>
                      <a:pt x="19187" y="9887"/>
                    </a:lnTo>
                    <a:lnTo>
                      <a:pt x="19187" y="14399"/>
                    </a:lnTo>
                    <a:lnTo>
                      <a:pt x="19839" y="14399"/>
                    </a:lnTo>
                    <a:lnTo>
                      <a:pt x="19839" y="9887"/>
                    </a:lnTo>
                    <a:lnTo>
                      <a:pt x="25599" y="9887"/>
                    </a:lnTo>
                    <a:lnTo>
                      <a:pt x="25599" y="9234"/>
                    </a:lnTo>
                    <a:lnTo>
                      <a:pt x="19839" y="9234"/>
                    </a:lnTo>
                    <a:lnTo>
                      <a:pt x="19839" y="7602"/>
                    </a:lnTo>
                    <a:lnTo>
                      <a:pt x="25599" y="7602"/>
                    </a:lnTo>
                    <a:lnTo>
                      <a:pt x="25599" y="6949"/>
                    </a:lnTo>
                    <a:lnTo>
                      <a:pt x="19839" y="6949"/>
                    </a:lnTo>
                    <a:lnTo>
                      <a:pt x="19839" y="0"/>
                    </a:lnTo>
                    <a:lnTo>
                      <a:pt x="19187" y="0"/>
                    </a:lnTo>
                    <a:close/>
                  </a:path>
                </a:pathLst>
              </a:custGeom>
              <a:solidFill>
                <a:srgbClr val="FFFFFF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/>
              </a:p>
            </p:txBody>
          </p:sp>
        </p:grp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xmlns="" id="{642E31FB-8697-8E4D-9430-7773E918173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black">
            <a:xfrm>
              <a:off x="185139" y="5330952"/>
              <a:ext cx="1636776" cy="1351184"/>
            </a:xfrm>
            <a:prstGeom prst="rect">
              <a:avLst/>
            </a:prstGeom>
          </p:spPr>
        </p:pic>
      </p:grpSp>
      <p:sp>
        <p:nvSpPr>
          <p:cNvPr id="3" name="Subtitle 2"/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4" y="3713607"/>
            <a:ext cx="5473699" cy="592074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4" y="428624"/>
            <a:ext cx="7418386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8530346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ines 2">
    <p:bg>
      <p:bgPr>
        <a:solidFill>
          <a:srgbClr val="DEDE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4"/>
          <p:cNvSpPr>
            <a:spLocks noGrp="1"/>
          </p:cNvSpPr>
          <p:nvPr>
            <p:ph type="pic" sz="quarter" idx="10"/>
          </p:nvPr>
        </p:nvSpPr>
        <p:spPr bwMode="hidden">
          <a:xfrm>
            <a:off x="0" y="0"/>
            <a:ext cx="12192000" cy="6858000"/>
          </a:xfrm>
          <a:solidFill>
            <a:srgbClr val="DEDEDE"/>
          </a:solidFill>
        </p:spPr>
        <p:txBody>
          <a:bodyPr tIns="91440"/>
          <a:lstStyle>
            <a:lvl1pPr algn="ctr"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B7BDC28A-6CCA-D946-B517-6BB4EEB49B0B}"/>
              </a:ext>
            </a:extLst>
          </p:cNvPr>
          <p:cNvGrpSpPr/>
          <p:nvPr userDrawn="1"/>
        </p:nvGrpSpPr>
        <p:grpSpPr>
          <a:xfrm>
            <a:off x="0" y="0"/>
            <a:ext cx="12192000" cy="6858000"/>
            <a:chOff x="0" y="0"/>
            <a:chExt cx="12192000" cy="6858000"/>
          </a:xfrm>
        </p:grpSpPr>
        <p:sp>
          <p:nvSpPr>
            <p:cNvPr id="7" name="Freeform: Shape 7">
              <a:extLst>
                <a:ext uri="{FF2B5EF4-FFF2-40B4-BE49-F238E27FC236}">
                  <a16:creationId xmlns:a16="http://schemas.microsoft.com/office/drawing/2014/main" xmlns="" id="{88987A12-2FCD-A24E-A035-A87DB2CE21C2}"/>
                </a:ext>
              </a:extLst>
            </p:cNvPr>
            <p:cNvSpPr/>
            <p:nvPr userDrawn="1"/>
          </p:nvSpPr>
          <p:spPr bwMode="white">
            <a:xfrm>
              <a:off x="0" y="0"/>
              <a:ext cx="12192000" cy="6858000"/>
            </a:xfrm>
            <a:custGeom>
              <a:avLst/>
              <a:gdLst>
                <a:gd name="connsiteX0" fmla="*/ 9144000 w 12192000"/>
                <a:gd name="connsiteY0" fmla="*/ 0 h 6858000"/>
                <a:gd name="connsiteX1" fmla="*/ 9450000 w 12192000"/>
                <a:gd name="connsiteY1" fmla="*/ 0 h 6858000"/>
                <a:gd name="connsiteX2" fmla="*/ 9450000 w 12192000"/>
                <a:gd name="connsiteY2" fmla="*/ 3309692 h 6858000"/>
                <a:gd name="connsiteX3" fmla="*/ 12192000 w 12192000"/>
                <a:gd name="connsiteY3" fmla="*/ 3309692 h 6858000"/>
                <a:gd name="connsiteX4" fmla="*/ 12192000 w 12192000"/>
                <a:gd name="connsiteY4" fmla="*/ 3615692 h 6858000"/>
                <a:gd name="connsiteX5" fmla="*/ 9450000 w 12192000"/>
                <a:gd name="connsiteY5" fmla="*/ 3615692 h 6858000"/>
                <a:gd name="connsiteX6" fmla="*/ 9450000 w 12192000"/>
                <a:gd name="connsiteY6" fmla="*/ 4394836 h 6858000"/>
                <a:gd name="connsiteX7" fmla="*/ 12192000 w 12192000"/>
                <a:gd name="connsiteY7" fmla="*/ 4394836 h 6858000"/>
                <a:gd name="connsiteX8" fmla="*/ 12192000 w 12192000"/>
                <a:gd name="connsiteY8" fmla="*/ 4700836 h 6858000"/>
                <a:gd name="connsiteX9" fmla="*/ 9450000 w 12192000"/>
                <a:gd name="connsiteY9" fmla="*/ 4700836 h 6858000"/>
                <a:gd name="connsiteX10" fmla="*/ 9450000 w 12192000"/>
                <a:gd name="connsiteY10" fmla="*/ 6858000 h 6858000"/>
                <a:gd name="connsiteX11" fmla="*/ 9144000 w 12192000"/>
                <a:gd name="connsiteY11" fmla="*/ 6858000 h 6858000"/>
                <a:gd name="connsiteX12" fmla="*/ 9144000 w 12192000"/>
                <a:gd name="connsiteY12" fmla="*/ 4700836 h 6858000"/>
                <a:gd name="connsiteX13" fmla="*/ 0 w 12192000"/>
                <a:gd name="connsiteY13" fmla="*/ 4700836 h 6858000"/>
                <a:gd name="connsiteX14" fmla="*/ 0 w 12192000"/>
                <a:gd name="connsiteY14" fmla="*/ 4394836 h 6858000"/>
                <a:gd name="connsiteX15" fmla="*/ 9144000 w 12192000"/>
                <a:gd name="connsiteY15" fmla="*/ 4394836 h 6858000"/>
                <a:gd name="connsiteX16" fmla="*/ 9144000 w 12192000"/>
                <a:gd name="connsiteY16" fmla="*/ 3615692 h 6858000"/>
                <a:gd name="connsiteX17" fmla="*/ 0 w 12192000"/>
                <a:gd name="connsiteY17" fmla="*/ 3615692 h 6858000"/>
                <a:gd name="connsiteX18" fmla="*/ 0 w 12192000"/>
                <a:gd name="connsiteY18" fmla="*/ 3309692 h 6858000"/>
                <a:gd name="connsiteX19" fmla="*/ 9144000 w 12192000"/>
                <a:gd name="connsiteY19" fmla="*/ 3309692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6858000">
                  <a:moveTo>
                    <a:pt x="9144000" y="0"/>
                  </a:moveTo>
                  <a:lnTo>
                    <a:pt x="9450000" y="0"/>
                  </a:lnTo>
                  <a:lnTo>
                    <a:pt x="9450000" y="3309692"/>
                  </a:lnTo>
                  <a:lnTo>
                    <a:pt x="12192000" y="3309692"/>
                  </a:lnTo>
                  <a:lnTo>
                    <a:pt x="12192000" y="3615692"/>
                  </a:lnTo>
                  <a:lnTo>
                    <a:pt x="9450000" y="3615692"/>
                  </a:lnTo>
                  <a:lnTo>
                    <a:pt x="9450000" y="4394836"/>
                  </a:lnTo>
                  <a:lnTo>
                    <a:pt x="12192000" y="4394836"/>
                  </a:lnTo>
                  <a:lnTo>
                    <a:pt x="12192000" y="4700836"/>
                  </a:lnTo>
                  <a:lnTo>
                    <a:pt x="9450000" y="4700836"/>
                  </a:lnTo>
                  <a:lnTo>
                    <a:pt x="9450000" y="6858000"/>
                  </a:lnTo>
                  <a:lnTo>
                    <a:pt x="9144000" y="6858000"/>
                  </a:lnTo>
                  <a:lnTo>
                    <a:pt x="9144000" y="4700836"/>
                  </a:lnTo>
                  <a:lnTo>
                    <a:pt x="0" y="4700836"/>
                  </a:lnTo>
                  <a:lnTo>
                    <a:pt x="0" y="4394836"/>
                  </a:lnTo>
                  <a:lnTo>
                    <a:pt x="9144000" y="4394836"/>
                  </a:lnTo>
                  <a:lnTo>
                    <a:pt x="9144000" y="3615692"/>
                  </a:lnTo>
                  <a:lnTo>
                    <a:pt x="0" y="3615692"/>
                  </a:lnTo>
                  <a:lnTo>
                    <a:pt x="0" y="3309692"/>
                  </a:lnTo>
                  <a:lnTo>
                    <a:pt x="9144000" y="330969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GB" dirty="0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xmlns="" id="{7BFFF2DD-324A-4741-B09D-D8BFF0170BC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185139" y="5330952"/>
              <a:ext cx="1636776" cy="1351185"/>
            </a:xfrm>
            <a:prstGeom prst="rect">
              <a:avLst/>
            </a:prstGeom>
          </p:spPr>
        </p:pic>
      </p:grpSp>
      <p:sp>
        <p:nvSpPr>
          <p:cNvPr id="8" name="Subtitle 2">
            <a:extLst>
              <a:ext uri="{FF2B5EF4-FFF2-40B4-BE49-F238E27FC236}">
                <a16:creationId xmlns:a16="http://schemas.microsoft.com/office/drawing/2014/main" xmlns="" id="{B2285DDC-FA1B-F84F-B44E-C04413327EF5}"/>
              </a:ext>
            </a:extLst>
          </p:cNvPr>
          <p:cNvSpPr>
            <a:spLocks noGrp="1"/>
          </p:cNvSpPr>
          <p:nvPr userDrawn="1">
            <p:ph type="subTitle" idx="1" hasCustomPrompt="1"/>
          </p:nvPr>
        </p:nvSpPr>
        <p:spPr>
          <a:xfrm>
            <a:off x="442913" y="3713607"/>
            <a:ext cx="5473700" cy="594221"/>
          </a:xfrm>
          <a:noFill/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/>
            </a:lvl9pPr>
          </a:lstStyle>
          <a:p>
            <a:r>
              <a:rPr lang="en-US" dirty="0"/>
              <a:t>[Presentation subtitle]</a:t>
            </a:r>
          </a:p>
        </p:txBody>
      </p: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42912" y="428624"/>
            <a:ext cx="7418387" cy="1884391"/>
          </a:xfrm>
        </p:spPr>
        <p:txBody>
          <a:bodyPr anchor="b" anchorCtr="0"/>
          <a:lstStyle>
            <a:lvl1pPr algn="l">
              <a:lnSpc>
                <a:spcPct val="85000"/>
              </a:lnSpc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236707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63" Type="http://schemas.openxmlformats.org/officeDocument/2006/relationships/slideLayout" Target="../slideLayouts/slideLayout63.xml"/><Relationship Id="rId68" Type="http://schemas.openxmlformats.org/officeDocument/2006/relationships/vmlDrawing" Target="../drawings/vmlDrawing1.vml"/><Relationship Id="rId7" Type="http://schemas.openxmlformats.org/officeDocument/2006/relationships/slideLayout" Target="../slideLayouts/slideLayout7.xml"/><Relationship Id="rId71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61" Type="http://schemas.openxmlformats.org/officeDocument/2006/relationships/slideLayout" Target="../slideLayouts/slideLayout6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theme" Target="../theme/theme1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9.xml"/><Relationship Id="rId2" Type="http://schemas.openxmlformats.org/officeDocument/2006/relationships/slideLayout" Target="../slideLayouts/slideLayout68.xml"/><Relationship Id="rId1" Type="http://schemas.openxmlformats.org/officeDocument/2006/relationships/slideLayout" Target="../slideLayouts/slideLayout67.xml"/><Relationship Id="rId6" Type="http://schemas.openxmlformats.org/officeDocument/2006/relationships/image" Target="../media/image5.jpeg"/><Relationship Id="rId5" Type="http://schemas.openxmlformats.org/officeDocument/2006/relationships/image" Target="../media/image4.jpeg"/><Relationship Id="rId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50716D72-9763-495A-92A6-667BA48DFF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9"/>
            </p:custDataLst>
            <p:extLst>
              <p:ext uri="{D42A27DB-BD31-4B8C-83A1-F6EECF244321}">
                <p14:modId xmlns:p14="http://schemas.microsoft.com/office/powerpoint/2010/main" val="3222819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33" name="think-cell Slide" r:id="rId71" imgW="395" imgH="394" progId="TCLayout.ActiveDocument.1">
                  <p:embed/>
                </p:oleObj>
              </mc:Choice>
              <mc:Fallback>
                <p:oleObj name="think-cell Slide" r:id="rId71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xmlns="" id="{50716D72-9763-495A-92A6-667BA48DFF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xmlns="" id="{1D6526A5-1E45-4E17-A507-7EB473B0F984}"/>
              </a:ext>
            </a:extLst>
          </p:cNvPr>
          <p:cNvSpPr/>
          <p:nvPr userDrawn="1">
            <p:custDataLst>
              <p:tags r:id="rId7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Box 7"/>
          <p:cNvSpPr txBox="1"/>
          <p:nvPr/>
        </p:nvSpPr>
        <p:spPr>
          <a:xfrm>
            <a:off x="442913" y="6492240"/>
            <a:ext cx="5473700" cy="137160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algn="l"/>
            <a:r>
              <a:rPr lang="en-GB" sz="750" b="0" dirty="0">
                <a:solidFill>
                  <a:schemeClr val="tx1"/>
                </a:solidFill>
              </a:rPr>
              <a:t>PwC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ctr">
              <a:defRPr sz="750">
                <a:solidFill>
                  <a:schemeClr val="tx1"/>
                </a:solidFill>
              </a:defRPr>
            </a:lvl1pPr>
          </a:lstStyle>
          <a:p>
            <a:pPr algn="l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6596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  <p:sldLayoutId id="2147483794" r:id="rId4"/>
    <p:sldLayoutId id="2147483795" r:id="rId5"/>
    <p:sldLayoutId id="2147483796" r:id="rId6"/>
    <p:sldLayoutId id="2147483797" r:id="rId7"/>
    <p:sldLayoutId id="2147483798" r:id="rId8"/>
    <p:sldLayoutId id="2147483799" r:id="rId9"/>
    <p:sldLayoutId id="2147483800" r:id="rId10"/>
    <p:sldLayoutId id="2147483801" r:id="rId11"/>
    <p:sldLayoutId id="2147483802" r:id="rId12"/>
    <p:sldLayoutId id="2147483803" r:id="rId13"/>
    <p:sldLayoutId id="2147483804" r:id="rId14"/>
    <p:sldLayoutId id="2147483805" r:id="rId15"/>
    <p:sldLayoutId id="2147483806" r:id="rId16"/>
    <p:sldLayoutId id="2147483807" r:id="rId17"/>
    <p:sldLayoutId id="2147483808" r:id="rId18"/>
    <p:sldLayoutId id="2147483809" r:id="rId19"/>
    <p:sldLayoutId id="2147483810" r:id="rId20"/>
    <p:sldLayoutId id="2147483811" r:id="rId21"/>
    <p:sldLayoutId id="2147483812" r:id="rId22"/>
    <p:sldLayoutId id="2147483813" r:id="rId23"/>
    <p:sldLayoutId id="2147483814" r:id="rId24"/>
    <p:sldLayoutId id="2147483815" r:id="rId25"/>
    <p:sldLayoutId id="2147483816" r:id="rId26"/>
    <p:sldLayoutId id="2147483817" r:id="rId27"/>
    <p:sldLayoutId id="2147483818" r:id="rId28"/>
    <p:sldLayoutId id="2147483819" r:id="rId29"/>
    <p:sldLayoutId id="2147483820" r:id="rId30"/>
    <p:sldLayoutId id="2147483821" r:id="rId31"/>
    <p:sldLayoutId id="2147483822" r:id="rId32"/>
    <p:sldLayoutId id="2147483823" r:id="rId33"/>
    <p:sldLayoutId id="2147483824" r:id="rId34"/>
    <p:sldLayoutId id="2147483825" r:id="rId35"/>
    <p:sldLayoutId id="2147483826" r:id="rId36"/>
    <p:sldLayoutId id="2147483827" r:id="rId37"/>
    <p:sldLayoutId id="2147483828" r:id="rId38"/>
    <p:sldLayoutId id="2147483829" r:id="rId39"/>
    <p:sldLayoutId id="2147483830" r:id="rId40"/>
    <p:sldLayoutId id="2147483831" r:id="rId41"/>
    <p:sldLayoutId id="2147483832" r:id="rId42"/>
    <p:sldLayoutId id="2147483833" r:id="rId43"/>
    <p:sldLayoutId id="2147483834" r:id="rId44"/>
    <p:sldLayoutId id="2147483835" r:id="rId45"/>
    <p:sldLayoutId id="2147483836" r:id="rId46"/>
    <p:sldLayoutId id="2147483837" r:id="rId47"/>
    <p:sldLayoutId id="2147483838" r:id="rId48"/>
    <p:sldLayoutId id="2147483839" r:id="rId49"/>
    <p:sldLayoutId id="2147483840" r:id="rId50"/>
    <p:sldLayoutId id="2147483841" r:id="rId51"/>
    <p:sldLayoutId id="2147483842" r:id="rId52"/>
    <p:sldLayoutId id="2147483843" r:id="rId53"/>
    <p:sldLayoutId id="2147483844" r:id="rId54"/>
    <p:sldLayoutId id="2147483845" r:id="rId55"/>
    <p:sldLayoutId id="2147483846" r:id="rId56"/>
    <p:sldLayoutId id="2147483847" r:id="rId57"/>
    <p:sldLayoutId id="2147483848" r:id="rId58"/>
    <p:sldLayoutId id="2147483849" r:id="rId59"/>
    <p:sldLayoutId id="2147483850" r:id="rId60"/>
    <p:sldLayoutId id="2147483851" r:id="rId61"/>
    <p:sldLayoutId id="2147483852" r:id="rId62"/>
    <p:sldLayoutId id="2147483853" r:id="rId63"/>
    <p:sldLayoutId id="2147483854" r:id="rId64"/>
    <p:sldLayoutId id="2147483855" r:id="rId65"/>
    <p:sldLayoutId id="2147483856" r:id="rId66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>
          <p15:clr>
            <a:srgbClr val="F26B43"/>
          </p15:clr>
        </p15:guide>
        <p15:guide id="1" pos="279">
          <p15:clr>
            <a:srgbClr val="F26B43"/>
          </p15:clr>
        </p15:guide>
        <p15:guide id="2" pos="7401">
          <p15:clr>
            <a:srgbClr val="F26B43"/>
          </p15:clr>
        </p15:guide>
        <p15:guide id="3" pos="3953">
          <p15:clr>
            <a:srgbClr val="F26B43"/>
          </p15:clr>
        </p15:guide>
        <p15:guide id="4" pos="3727">
          <p15:clr>
            <a:srgbClr val="F26B43"/>
          </p15:clr>
        </p15:guide>
        <p15:guide id="5" orient="horz" pos="3888">
          <p15:clr>
            <a:srgbClr val="F26B43"/>
          </p15:clr>
        </p15:guide>
        <p15:guide id="6" pos="2726">
          <p15:clr>
            <a:srgbClr val="F26B43"/>
          </p15:clr>
        </p15:guide>
        <p15:guide id="7" pos="2502">
          <p15:clr>
            <a:srgbClr val="F26B43"/>
          </p15:clr>
        </p15:guide>
        <p15:guide id="8" pos="4952">
          <p15:clr>
            <a:srgbClr val="F26B43"/>
          </p15:clr>
        </p15:guide>
        <p15:guide id="9" pos="5177">
          <p15:clr>
            <a:srgbClr val="F26B43"/>
          </p15:clr>
        </p15:guide>
        <p15:guide id="10" orient="horz" pos="2160">
          <p15:clr>
            <a:srgbClr val="F26B43"/>
          </p15:clr>
        </p15:guide>
        <p15:guide id="11" orient="horz" pos="1325">
          <p15:clr>
            <a:srgbClr val="F26B43"/>
          </p15:clr>
        </p15:guide>
        <p15:guide id="12" orient="horz" pos="1146">
          <p15:clr>
            <a:srgbClr val="F26B43"/>
          </p15:clr>
        </p15:guide>
        <p15:guide id="13" orient="horz" pos="27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hteck 38">
            <a:extLst>
              <a:ext uri="{FF2B5EF4-FFF2-40B4-BE49-F238E27FC236}">
                <a16:creationId xmlns:a16="http://schemas.microsoft.com/office/drawing/2014/main" xmlns="" id="{57E8C50D-C86A-4B8F-B879-7BE3BE68D126}"/>
              </a:ext>
            </a:extLst>
          </p:cNvPr>
          <p:cNvSpPr>
            <a:spLocks noChangeArrowheads="1"/>
          </p:cNvSpPr>
          <p:nvPr/>
        </p:nvSpPr>
        <p:spPr bwMode="gray">
          <a:xfrm>
            <a:off x="1" y="0"/>
            <a:ext cx="12192000" cy="38091"/>
          </a:xfrm>
          <a:prstGeom prst="rect">
            <a:avLst/>
          </a:prstGeom>
          <a:solidFill>
            <a:schemeClr val="bg2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4662" tIns="94662" rIns="94662" bIns="94662" anchor="ctr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9pPr>
          </a:lstStyle>
          <a:p>
            <a:pPr algn="ctr" eaLnBrk="1" hangingPunct="1"/>
            <a:endParaRPr lang="el-GR" altLang="el-GR" sz="900">
              <a:latin typeface="Open Sans"/>
              <a:ea typeface="Open Sans"/>
              <a:cs typeface="Open Sans"/>
            </a:endParaRPr>
          </a:p>
        </p:txBody>
      </p:sp>
      <p:sp>
        <p:nvSpPr>
          <p:cNvPr id="2" name="Titelplatzhalter 1">
            <a:extLst>
              <a:ext uri="{FF2B5EF4-FFF2-40B4-BE49-F238E27FC236}">
                <a16:creationId xmlns:a16="http://schemas.microsoft.com/office/drawing/2014/main" xmlns="" id="{EB3589D4-59F9-4D3E-A09D-227A666B776C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590627" y="598349"/>
            <a:ext cx="10983755" cy="653899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/>
              <a:t>TITLE</a:t>
            </a:r>
          </a:p>
        </p:txBody>
      </p:sp>
      <p:sp>
        <p:nvSpPr>
          <p:cNvPr id="1028" name="Textplatzhalter 2">
            <a:extLst>
              <a:ext uri="{FF2B5EF4-FFF2-40B4-BE49-F238E27FC236}">
                <a16:creationId xmlns:a16="http://schemas.microsoft.com/office/drawing/2014/main" xmlns="" id="{59543DC8-802B-4456-A4D2-0AF02F42FD6C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 bwMode="gray">
          <a:xfrm>
            <a:off x="593803" y="1372870"/>
            <a:ext cx="10978992" cy="4862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l-GR"/>
              <a:t>A list</a:t>
            </a:r>
          </a:p>
          <a:p>
            <a:pPr lvl="1"/>
            <a:r>
              <a:rPr lang="en-US" altLang="el-GR"/>
              <a:t>First item</a:t>
            </a:r>
          </a:p>
          <a:p>
            <a:pPr lvl="2"/>
            <a:r>
              <a:rPr lang="en-US" altLang="el-GR"/>
              <a:t>Second item</a:t>
            </a:r>
          </a:p>
          <a:p>
            <a:pPr lvl="3"/>
            <a:r>
              <a:rPr lang="en-US" altLang="el-GR"/>
              <a:t>Third item</a:t>
            </a:r>
          </a:p>
          <a:p>
            <a:pPr lvl="4"/>
            <a:r>
              <a:rPr lang="en-US" altLang="el-GR"/>
              <a:t>Fourth item</a:t>
            </a: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xmlns="" id="{FB6F81F4-8C5C-44D2-8377-8B4546C7A0E7}"/>
              </a:ext>
            </a:extLst>
          </p:cNvPr>
          <p:cNvSpPr/>
          <p:nvPr/>
        </p:nvSpPr>
        <p:spPr bwMode="gray">
          <a:xfrm>
            <a:off x="0" y="0"/>
            <a:ext cx="12195175" cy="125384"/>
          </a:xfrm>
          <a:prstGeom prst="rect">
            <a:avLst/>
          </a:prstGeom>
          <a:solidFill>
            <a:schemeClr val="accent2">
              <a:lumMod val="25000"/>
            </a:schemeClr>
          </a:solidFill>
        </p:spPr>
        <p:txBody>
          <a:bodyPr lIns="94662" tIns="94662" rIns="94662" bIns="94662" anchor="ctr"/>
          <a:lstStyle/>
          <a:p>
            <a:pPr algn="ctr" defTabSz="914264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sz="900">
              <a:latin typeface="Open Sans" pitchFamily="34" charset="0"/>
              <a:ea typeface="Open Sans" pitchFamily="34" charset="0"/>
              <a:cs typeface="Open Sans" pitchFamily="34" charset="0"/>
            </a:endParaRPr>
          </a:p>
        </p:txBody>
      </p:sp>
      <p:pic>
        <p:nvPicPr>
          <p:cNvPr id="1030" name="Εικόνα 9" descr="cid:image003.jpg@01D65F83.43EA9590">
            <a:extLst>
              <a:ext uri="{FF2B5EF4-FFF2-40B4-BE49-F238E27FC236}">
                <a16:creationId xmlns:a16="http://schemas.microsoft.com/office/drawing/2014/main" xmlns="" id="{62F24064-76D7-4A94-85F4-CFD5CEA4BF8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521528"/>
            <a:ext cx="350884" cy="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1" name="TextBox 10">
            <a:extLst>
              <a:ext uri="{FF2B5EF4-FFF2-40B4-BE49-F238E27FC236}">
                <a16:creationId xmlns:a16="http://schemas.microsoft.com/office/drawing/2014/main" xmlns="" id="{F674C4F3-D04D-4B09-A7ED-23DE2FDE30B9}"/>
              </a:ext>
            </a:extLst>
          </p:cNvPr>
          <p:cNvSpPr txBox="1">
            <a:spLocks noChangeArrowheads="1"/>
          </p:cNvSpPr>
          <p:nvPr userDrawn="1"/>
        </p:nvSpPr>
        <p:spPr bwMode="gray">
          <a:xfrm>
            <a:off x="350884" y="6521528"/>
            <a:ext cx="3177001" cy="33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9pPr>
          </a:lstStyle>
          <a:p>
            <a:pPr eaLnBrk="1" hangingPunct="1"/>
            <a:r>
              <a:rPr lang="el-GR" altLang="el-GR" sz="1000">
                <a:solidFill>
                  <a:srgbClr val="58AEDE"/>
                </a:solidFill>
              </a:rPr>
              <a:t> Γενική Γραμματεία Πληροφοριακών Συστημάτων</a:t>
            </a:r>
          </a:p>
          <a:p>
            <a:pPr eaLnBrk="1" hangingPunct="1"/>
            <a:r>
              <a:rPr lang="el-GR" altLang="el-GR" sz="1000">
                <a:solidFill>
                  <a:srgbClr val="58AEDE"/>
                </a:solidFill>
              </a:rPr>
              <a:t>  </a:t>
            </a:r>
            <a:r>
              <a:rPr lang="el-GR" altLang="el-GR" sz="1000">
                <a:solidFill>
                  <a:srgbClr val="C9620D"/>
                </a:solidFill>
              </a:rPr>
              <a:t>Δημόσιας Διοίκησης</a:t>
            </a:r>
          </a:p>
        </p:txBody>
      </p:sp>
    </p:spTree>
    <p:extLst>
      <p:ext uri="{BB962C8B-B14F-4D97-AF65-F5344CB8AC3E}">
        <p14:creationId xmlns:p14="http://schemas.microsoft.com/office/powerpoint/2010/main" val="16363823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60" r:id="rId2"/>
    <p:sldLayoutId id="2147483861" r:id="rId3"/>
  </p:sldLayoutIdLst>
  <p:transition spd="med">
    <p:fade/>
  </p:transition>
  <p:hf sldNum="0" hdr="0" dt="0"/>
  <p:txStyles>
    <p:titleStyle>
      <a:lvl1pPr algn="l" rtl="0" fontAlgn="base">
        <a:lnSpc>
          <a:spcPct val="80000"/>
        </a:lnSpc>
        <a:spcBef>
          <a:spcPct val="0"/>
        </a:spcBef>
        <a:spcAft>
          <a:spcPct val="0"/>
        </a:spcAft>
        <a:defRPr kern="1200" cap="all"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+mj-cs"/>
        </a:defRPr>
      </a:lvl1pPr>
      <a:lvl2pPr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2pPr>
      <a:lvl3pPr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3pPr>
      <a:lvl4pPr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4pPr>
      <a:lvl5pPr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5pPr>
      <a:lvl6pPr marL="457109"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6pPr>
      <a:lvl7pPr marL="914217"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7pPr>
      <a:lvl8pPr marL="1371326"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8pPr>
      <a:lvl9pPr marL="1828434" algn="l" rtl="0" fontAlgn="base">
        <a:lnSpc>
          <a:spcPct val="80000"/>
        </a:lnSpc>
        <a:spcBef>
          <a:spcPct val="0"/>
        </a:spcBef>
        <a:spcAft>
          <a:spcPct val="0"/>
        </a:spcAft>
        <a:defRPr>
          <a:solidFill>
            <a:schemeClr val="bg1"/>
          </a:solidFill>
          <a:latin typeface="Arial" panose="020B0604020202020204" pitchFamily="34" charset="0"/>
          <a:ea typeface="Segoe UI Black" panose="020B0A02040204020203" pitchFamily="34" charset="0"/>
          <a:cs typeface="Segoe UI Black" panose="020B0A02040204020203" pitchFamily="34" charset="0"/>
        </a:defRPr>
      </a:lvl9pPr>
    </p:titleStyle>
    <p:bodyStyle>
      <a:lvl1pPr algn="l" rtl="0" fontAlgn="base">
        <a:spcBef>
          <a:spcPts val="525"/>
        </a:spcBef>
        <a:spcAft>
          <a:spcPct val="0"/>
        </a:spcAft>
        <a:buFont typeface="Arial" panose="020B0604020202020204" pitchFamily="34" charset="0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57132" indent="-157132" algn="l" rtl="0" fontAlgn="base">
        <a:spcBef>
          <a:spcPts val="525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-"/>
        <a:defRPr sz="12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314262" indent="-157132" algn="l" rtl="0" fontAlgn="base">
        <a:spcBef>
          <a:spcPts val="525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-"/>
        <a:defRPr sz="11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472980" indent="-157132" algn="l" rtl="0" fontAlgn="base">
        <a:spcBef>
          <a:spcPts val="525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-"/>
        <a:defRPr sz="9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630112" indent="-157132" algn="l" rtl="0" fontAlgn="base">
        <a:spcBef>
          <a:spcPts val="525"/>
        </a:spcBef>
        <a:spcAft>
          <a:spcPct val="0"/>
        </a:spcAft>
        <a:buClr>
          <a:schemeClr val="bg2"/>
        </a:buClr>
        <a:buFont typeface="Symbol" panose="05050102010706020507" pitchFamily="18" charset="2"/>
        <a:buChar char="-"/>
        <a:defRPr sz="900" kern="1200">
          <a:solidFill>
            <a:schemeClr val="bg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631098" indent="-157774" algn="l" defTabSz="914264" rtl="0" eaLnBrk="1" latinLnBrk="0" hangingPunct="1">
        <a:spcBef>
          <a:spcPts val="526"/>
        </a:spcBef>
        <a:buClr>
          <a:schemeClr val="bg2"/>
        </a:buClr>
        <a:buFont typeface="Symbol" panose="05050102010706020507" pitchFamily="18" charset="2"/>
        <a:buChar char="-"/>
        <a:defRPr sz="900" kern="1200">
          <a:solidFill>
            <a:schemeClr val="bg1"/>
          </a:solidFill>
          <a:latin typeface="+mn-lt"/>
          <a:ea typeface="+mn-ea"/>
          <a:cs typeface="+mn-cs"/>
        </a:defRPr>
      </a:lvl6pPr>
      <a:lvl7pPr marL="631098" indent="-157774" algn="l" defTabSz="914264" rtl="0" eaLnBrk="1" latinLnBrk="0" hangingPunct="1">
        <a:spcBef>
          <a:spcPts val="526"/>
        </a:spcBef>
        <a:buClr>
          <a:schemeClr val="bg2"/>
        </a:buClr>
        <a:buFont typeface="Symbol" panose="05050102010706020507" pitchFamily="18" charset="2"/>
        <a:buChar char="-"/>
        <a:defRPr sz="900" kern="1200">
          <a:solidFill>
            <a:schemeClr val="bg1"/>
          </a:solidFill>
          <a:latin typeface="+mn-lt"/>
          <a:ea typeface="+mn-ea"/>
          <a:cs typeface="+mn-cs"/>
        </a:defRPr>
      </a:lvl7pPr>
      <a:lvl8pPr marL="631098" indent="-157774" algn="l" defTabSz="914264" rtl="0" eaLnBrk="1" latinLnBrk="0" hangingPunct="1">
        <a:spcBef>
          <a:spcPts val="526"/>
        </a:spcBef>
        <a:buClr>
          <a:schemeClr val="bg2"/>
        </a:buClr>
        <a:buFont typeface="Symbol" panose="05050102010706020507" pitchFamily="18" charset="2"/>
        <a:buChar char="-"/>
        <a:defRPr sz="900" kern="1200">
          <a:solidFill>
            <a:schemeClr val="bg1"/>
          </a:solidFill>
          <a:latin typeface="+mn-lt"/>
          <a:ea typeface="+mn-ea"/>
          <a:cs typeface="+mn-cs"/>
        </a:defRPr>
      </a:lvl8pPr>
      <a:lvl9pPr marL="631098" indent="-157774" algn="l" defTabSz="914264" rtl="0" eaLnBrk="1" latinLnBrk="0" hangingPunct="1">
        <a:spcBef>
          <a:spcPts val="526"/>
        </a:spcBef>
        <a:buClr>
          <a:schemeClr val="bg2"/>
        </a:buClr>
        <a:buFont typeface="Symbol" panose="05050102010706020507" pitchFamily="18" charset="2"/>
        <a:buChar char="-"/>
        <a:defRPr sz="900" kern="1200">
          <a:solidFill>
            <a:schemeClr val="bg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33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64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97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28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61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93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925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057" algn="l" defTabSz="9142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xmlns="" id="{B86E233E-6FFD-4F27-8CD2-DAC8E84709DA}"/>
              </a:ext>
            </a:extLst>
          </p:cNvPr>
          <p:cNvPicPr/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199" b="25178"/>
          <a:stretch/>
        </p:blipFill>
        <p:spPr bwMode="auto">
          <a:xfrm>
            <a:off x="10156199" y="110682"/>
            <a:ext cx="2050415" cy="101727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6" name="Title 1">
            <a:extLst>
              <a:ext uri="{FF2B5EF4-FFF2-40B4-BE49-F238E27FC236}">
                <a16:creationId xmlns:a16="http://schemas.microsoft.com/office/drawing/2014/main" xmlns="" id="{53C64B9B-C304-4068-8EDE-8708923D94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426844"/>
          </a:xfrm>
        </p:spPr>
        <p:txBody>
          <a:bodyPr>
            <a:noAutofit/>
          </a:bodyPr>
          <a:lstStyle/>
          <a:p>
            <a:r>
              <a:rPr lang="el-GR" sz="3600" dirty="0"/>
              <a:t>Εμβολιαστική Κάλυψη ανά Περιφέρεια</a:t>
            </a:r>
            <a:endParaRPr lang="el-GR" dirty="0"/>
          </a:p>
        </p:txBody>
      </p:sp>
      <p:pic>
        <p:nvPicPr>
          <p:cNvPr id="17" name="image4.png" descr="Image result for ÎµÎ»Î»Î·Î½Î¹ÎºÎ· Î´Î·Î¼Î¿ÎºÏÎ±ÏÎ¹Î± logo">
            <a:extLst>
              <a:ext uri="{FF2B5EF4-FFF2-40B4-BE49-F238E27FC236}">
                <a16:creationId xmlns:a16="http://schemas.microsoft.com/office/drawing/2014/main" xmlns="" id="{8D03CD5A-1013-4E45-AE43-51B8A2604BE5}"/>
              </a:ext>
            </a:extLst>
          </p:cNvPr>
          <p:cNvPicPr/>
          <p:nvPr/>
        </p:nvPicPr>
        <p:blipFill>
          <a:blip r:embed="rId3"/>
          <a:srcRect/>
          <a:stretch>
            <a:fillRect/>
          </a:stretch>
        </p:blipFill>
        <p:spPr>
          <a:xfrm>
            <a:off x="9254343" y="170438"/>
            <a:ext cx="901856" cy="883920"/>
          </a:xfrm>
          <a:prstGeom prst="rect">
            <a:avLst/>
          </a:prstGeom>
          <a:ln/>
        </p:spPr>
      </p:pic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A86423E1-EBB9-44E9-B723-5A186AC479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05867814"/>
              </p:ext>
            </p:extLst>
          </p:nvPr>
        </p:nvGraphicFramePr>
        <p:xfrm>
          <a:off x="2507735" y="2072082"/>
          <a:ext cx="7176529" cy="3171040"/>
        </p:xfrm>
        <a:graphic>
          <a:graphicData uri="http://schemas.openxmlformats.org/drawingml/2006/table">
            <a:tbl>
              <a:tblPr/>
              <a:tblGrid>
                <a:gridCol w="2032416">
                  <a:extLst>
                    <a:ext uri="{9D8B030D-6E8A-4147-A177-3AD203B41FA5}">
                      <a16:colId xmlns:a16="http://schemas.microsoft.com/office/drawing/2014/main" xmlns="" val="776333229"/>
                    </a:ext>
                  </a:extLst>
                </a:gridCol>
                <a:gridCol w="1569866">
                  <a:extLst>
                    <a:ext uri="{9D8B030D-6E8A-4147-A177-3AD203B41FA5}">
                      <a16:colId xmlns:a16="http://schemas.microsoft.com/office/drawing/2014/main" xmlns="" val="954588561"/>
                    </a:ext>
                  </a:extLst>
                </a:gridCol>
                <a:gridCol w="1962331">
                  <a:extLst>
                    <a:ext uri="{9D8B030D-6E8A-4147-A177-3AD203B41FA5}">
                      <a16:colId xmlns:a16="http://schemas.microsoft.com/office/drawing/2014/main" xmlns="" val="21792646"/>
                    </a:ext>
                  </a:extLst>
                </a:gridCol>
                <a:gridCol w="1611916">
                  <a:extLst>
                    <a:ext uri="{9D8B030D-6E8A-4147-A177-3AD203B41FA5}">
                      <a16:colId xmlns:a16="http://schemas.microsoft.com/office/drawing/2014/main" xmlns="" val="3027825092"/>
                    </a:ext>
                  </a:extLst>
                </a:gridCol>
              </a:tblGrid>
              <a:tr h="59138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Περιφέρεια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Ποσοστό Εμβολιασμένου Πληθυσμού με μία δόση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Ποσοστό Πληθυσμού  που έχει εμβολιαστεί/προγραμματισμένο ραντεβού 1ης δοση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Ποσοστό Πληθυσμού που έχει ολοκληρώσει τον εμβολιασμό 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4472C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1110585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ΑΝ. ΜΑΚΕΔΟΝΙΑΣ &amp; ΘΡΑΚΗ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45305144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ΑΤΤΙΚΗ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005213490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ΒΟΡΕΙΟΥ ΑΙΓΑΙΟ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44761812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ΔΥΤΙΚΗΣ ΕΛΛΑΔΑ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35866123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ΔΥΤΙΚΗΣ ΜΑΚΕΔΟΝΙΑ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51044522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ΗΠΕΙΡΟ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303310827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ΘΕΣΣΑΛΙΑ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70354959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ΙΟΝΙΩΝ ΝΗΣΩΝ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5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10861255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ΚΕΝΤΡΙΚΗΣ ΜΑΚΕΔΟΝΙΑ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717749926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ΚΡΗΤΗ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6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46343329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ΝΟΤΙΟΥ ΑΙΓΑΙΟ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028502148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ΠΕΛΟΠΟΝΝΗΣΟΥ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93239993"/>
                  </a:ext>
                </a:extLst>
              </a:tr>
              <a:tr h="198435">
                <a:tc>
                  <a:txBody>
                    <a:bodyPr/>
                    <a:lstStyle/>
                    <a:p>
                      <a:pPr algn="l" fontAlgn="ctr"/>
                      <a:r>
                        <a:rPr lang="el-GR" sz="9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ΣΤΕΡΕΑΣ ΕΛΛΑΔΑΣ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9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l-GR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%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4472C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97818499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045019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353,1,Πρόγραμμα ΕμβολιασμώνCOVID-19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pobl2JSCbdXZQqSqyeEA"/>
</p:tagLst>
</file>

<file path=ppt/theme/theme1.xml><?xml version="1.0" encoding="utf-8"?>
<a:theme xmlns:a="http://schemas.openxmlformats.org/drawingml/2006/main" name="1_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Presentation1" id="{F263BB68-960B-4111-8EAF-7ABCA2913049}" vid="{623EEB51-A4CC-4CFC-90F3-A67DAF2F600B}"/>
    </a:ext>
  </a:extLst>
</a:theme>
</file>

<file path=ppt/theme/theme2.xml><?xml version="1.0" encoding="utf-8"?>
<a:theme xmlns:a="http://schemas.openxmlformats.org/drawingml/2006/main" name="LEBEMAN">
  <a:themeElements>
    <a:clrScheme name="LEBEMAN">
      <a:dk1>
        <a:srgbClr val="09244C"/>
      </a:dk1>
      <a:lt1>
        <a:srgbClr val="FFFFFF"/>
      </a:lt1>
      <a:dk2>
        <a:srgbClr val="09244C"/>
      </a:dk2>
      <a:lt2>
        <a:srgbClr val="B3E900"/>
      </a:lt2>
      <a:accent1>
        <a:srgbClr val="009CDA"/>
      </a:accent1>
      <a:accent2>
        <a:srgbClr val="AED8EF"/>
      </a:accent2>
      <a:accent3>
        <a:srgbClr val="D9ECF8"/>
      </a:accent3>
      <a:accent4>
        <a:srgbClr val="C6C8CA"/>
      </a:accent4>
      <a:accent5>
        <a:srgbClr val="77787B"/>
      </a:accent5>
      <a:accent6>
        <a:srgbClr val="B3E900"/>
      </a:accent6>
      <a:hlink>
        <a:srgbClr val="B3E900"/>
      </a:hlink>
      <a:folHlink>
        <a:srgbClr val="77787B"/>
      </a:folHlink>
    </a:clrScheme>
    <a:fontScheme name="Segoe UI Semibold &amp; Regular">
      <a:majorFont>
        <a:latin typeface="Segoe UI Semibold"/>
        <a:ea typeface=""/>
        <a:cs typeface="Segoe UI Black"/>
      </a:majorFont>
      <a:minorFont>
        <a:latin typeface="Segoe UI"/>
        <a:ea typeface=""/>
        <a:cs typeface="Segoe UI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tx1"/>
        </a:solidFill>
        <a:ln>
          <a:noFill/>
        </a:ln>
      </a:spPr>
      <a:bodyPr rtlCol="0" anchor="ctr"/>
      <a:lstStyle>
        <a:defPPr algn="ctr">
          <a:defRPr sz="1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noAutofit/>
      </a:bodyPr>
      <a:lstStyle>
        <a:defPPr>
          <a:defRPr sz="14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4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1867</TotalTime>
  <Words>128</Words>
  <Application>Microsoft Office PowerPoint</Application>
  <PresentationFormat>Ευρεία οθόνη</PresentationFormat>
  <Paragraphs>57</Paragraphs>
  <Slides>1</Slides>
  <Notes>0</Notes>
  <HiddenSlides>0</HiddenSlides>
  <MMClips>0</MMClips>
  <ScaleCrop>false</ScaleCrop>
  <HeadingPairs>
    <vt:vector size="8" baseType="variant">
      <vt:variant>
        <vt:lpstr>Γραμματοσειρές που χρησιμοποιούνται</vt:lpstr>
      </vt:variant>
      <vt:variant>
        <vt:i4>6</vt:i4>
      </vt:variant>
      <vt:variant>
        <vt:lpstr>Θέμα</vt:lpstr>
      </vt:variant>
      <vt:variant>
        <vt:i4>2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</vt:i4>
      </vt:variant>
    </vt:vector>
  </HeadingPairs>
  <TitlesOfParts>
    <vt:vector size="10" baseType="lpstr">
      <vt:lpstr>Arial</vt:lpstr>
      <vt:lpstr>Georgia</vt:lpstr>
      <vt:lpstr>Open Sans</vt:lpstr>
      <vt:lpstr>Segoe UI</vt:lpstr>
      <vt:lpstr>Segoe UI Black</vt:lpstr>
      <vt:lpstr>Symbol</vt:lpstr>
      <vt:lpstr>1_PwC</vt:lpstr>
      <vt:lpstr>LEBEMAN</vt:lpstr>
      <vt:lpstr>think-cell Slide</vt:lpstr>
      <vt:lpstr>Εμβολιαστική Κάλυψη ανά Περιφέρεια</vt:lpstr>
    </vt:vector>
  </TitlesOfParts>
  <Manager/>
  <Company>PricewaterhouseCoopers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ρόγραμμα Εμβολιασμών COVID-19  Σύσταση Αίθουσας Επιχειρήσεων</dc:title>
  <dc:subject/>
  <dc:creator>Michael Politis</dc:creator>
  <cp:keywords/>
  <dc:description/>
  <cp:lastModifiedBy>Christos Zografos</cp:lastModifiedBy>
  <cp:revision>887</cp:revision>
  <cp:lastPrinted>2020-12-14T12:32:05Z</cp:lastPrinted>
  <dcterms:created xsi:type="dcterms:W3CDTF">2020-12-13T08:40:39Z</dcterms:created>
  <dcterms:modified xsi:type="dcterms:W3CDTF">2021-07-05T11:06:35Z</dcterms:modified>
  <cp:category/>
</cp:coreProperties>
</file>